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1" r:id="rId6"/>
    <p:sldMasterId id="2147483683" r:id="rId7"/>
  </p:sldMasterIdLst>
  <p:notesMasterIdLst>
    <p:notesMasterId r:id="rId37"/>
  </p:notesMasterIdLst>
  <p:sldIdLst>
    <p:sldId id="2134805499" r:id="rId8"/>
    <p:sldId id="2147468686" r:id="rId9"/>
    <p:sldId id="2147469607" r:id="rId10"/>
    <p:sldId id="2147469606" r:id="rId11"/>
    <p:sldId id="277" r:id="rId12"/>
    <p:sldId id="2147469608" r:id="rId13"/>
    <p:sldId id="273" r:id="rId14"/>
    <p:sldId id="257" r:id="rId15"/>
    <p:sldId id="265" r:id="rId16"/>
    <p:sldId id="266" r:id="rId17"/>
    <p:sldId id="270" r:id="rId18"/>
    <p:sldId id="269" r:id="rId19"/>
    <p:sldId id="271" r:id="rId20"/>
    <p:sldId id="267" r:id="rId21"/>
    <p:sldId id="268" r:id="rId22"/>
    <p:sldId id="274" r:id="rId23"/>
    <p:sldId id="275" r:id="rId24"/>
    <p:sldId id="286" r:id="rId25"/>
    <p:sldId id="287" r:id="rId26"/>
    <p:sldId id="288" r:id="rId27"/>
    <p:sldId id="289" r:id="rId28"/>
    <p:sldId id="290" r:id="rId29"/>
    <p:sldId id="280" r:id="rId30"/>
    <p:sldId id="278" r:id="rId31"/>
    <p:sldId id="281" r:id="rId32"/>
    <p:sldId id="282" r:id="rId33"/>
    <p:sldId id="283" r:id="rId34"/>
    <p:sldId id="284" r:id="rId35"/>
    <p:sldId id="285" r:id="rId36"/>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6560EF-F81F-4030-AF90-736BA5C28832}" v="4" dt="2021-08-20T21:36:57.059"/>
    <p1510:client id="{F67DB7FB-2366-4614-B804-0F59BD8230AA}" v="3" dt="2021-08-20T21:34:42.4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Wahl" userId="S::mawahl@microsoft.com::63283daa-9606-4894-9ca7-dd1cd276498a" providerId="AD" clId="Web-{48330AE5-3FBB-5063-DC47-3C8789E10853}"/>
    <pc:docChg chg="modSld">
      <pc:chgData name="Martin Wahl" userId="S::mawahl@microsoft.com::63283daa-9606-4894-9ca7-dd1cd276498a" providerId="AD" clId="Web-{48330AE5-3FBB-5063-DC47-3C8789E10853}" dt="2021-06-30T17:34:19.152" v="148" actId="20577"/>
      <pc:docMkLst>
        <pc:docMk/>
      </pc:docMkLst>
      <pc:sldChg chg="modSp">
        <pc:chgData name="Martin Wahl" userId="S::mawahl@microsoft.com::63283daa-9606-4894-9ca7-dd1cd276498a" providerId="AD" clId="Web-{48330AE5-3FBB-5063-DC47-3C8789E10853}" dt="2021-06-30T17:32:56.631" v="56" actId="20577"/>
        <pc:sldMkLst>
          <pc:docMk/>
          <pc:sldMk cId="1224155370" sldId="264"/>
        </pc:sldMkLst>
        <pc:spChg chg="mod">
          <ac:chgData name="Martin Wahl" userId="S::mawahl@microsoft.com::63283daa-9606-4894-9ca7-dd1cd276498a" providerId="AD" clId="Web-{48330AE5-3FBB-5063-DC47-3C8789E10853}" dt="2021-06-30T17:32:56.631" v="56" actId="20577"/>
          <ac:spMkLst>
            <pc:docMk/>
            <pc:sldMk cId="1224155370" sldId="264"/>
            <ac:spMk id="10" creationId="{67239103-D575-423F-8B20-3CE1A52423B7}"/>
          </ac:spMkLst>
        </pc:spChg>
      </pc:sldChg>
      <pc:sldChg chg="modSp">
        <pc:chgData name="Martin Wahl" userId="S::mawahl@microsoft.com::63283daa-9606-4894-9ca7-dd1cd276498a" providerId="AD" clId="Web-{48330AE5-3FBB-5063-DC47-3C8789E10853}" dt="2021-06-30T17:30:37.560" v="16" actId="20577"/>
        <pc:sldMkLst>
          <pc:docMk/>
          <pc:sldMk cId="104688657" sldId="276"/>
        </pc:sldMkLst>
        <pc:spChg chg="mod">
          <ac:chgData name="Martin Wahl" userId="S::mawahl@microsoft.com::63283daa-9606-4894-9ca7-dd1cd276498a" providerId="AD" clId="Web-{48330AE5-3FBB-5063-DC47-3C8789E10853}" dt="2021-06-30T17:30:37.560" v="16" actId="20577"/>
          <ac:spMkLst>
            <pc:docMk/>
            <pc:sldMk cId="104688657" sldId="276"/>
            <ac:spMk id="96" creationId="{9889ADE2-8205-4CD5-A38D-5DE833811CB5}"/>
          </ac:spMkLst>
        </pc:spChg>
      </pc:sldChg>
      <pc:sldChg chg="modSp">
        <pc:chgData name="Martin Wahl" userId="S::mawahl@microsoft.com::63283daa-9606-4894-9ca7-dd1cd276498a" providerId="AD" clId="Web-{48330AE5-3FBB-5063-DC47-3C8789E10853}" dt="2021-06-30T17:31:42.126" v="51" actId="20577"/>
        <pc:sldMkLst>
          <pc:docMk/>
          <pc:sldMk cId="4128801841" sldId="277"/>
        </pc:sldMkLst>
        <pc:spChg chg="mod">
          <ac:chgData name="Martin Wahl" userId="S::mawahl@microsoft.com::63283daa-9606-4894-9ca7-dd1cd276498a" providerId="AD" clId="Web-{48330AE5-3FBB-5063-DC47-3C8789E10853}" dt="2021-06-30T17:30:53.998" v="18" actId="20577"/>
          <ac:spMkLst>
            <pc:docMk/>
            <pc:sldMk cId="4128801841" sldId="277"/>
            <ac:spMk id="4" creationId="{19AB4516-FD1F-4AD4-AA3A-9395F8B7A1F9}"/>
          </ac:spMkLst>
        </pc:spChg>
        <pc:spChg chg="mod">
          <ac:chgData name="Martin Wahl" userId="S::mawahl@microsoft.com::63283daa-9606-4894-9ca7-dd1cd276498a" providerId="AD" clId="Web-{48330AE5-3FBB-5063-DC47-3C8789E10853}" dt="2021-06-30T17:31:42.126" v="51" actId="20577"/>
          <ac:spMkLst>
            <pc:docMk/>
            <pc:sldMk cId="4128801841" sldId="277"/>
            <ac:spMk id="5" creationId="{2888D0F9-982E-41FC-950B-A13CB0DBEF9C}"/>
          </ac:spMkLst>
        </pc:spChg>
      </pc:sldChg>
      <pc:sldChg chg="modSp">
        <pc:chgData name="Martin Wahl" userId="S::mawahl@microsoft.com::63283daa-9606-4894-9ca7-dd1cd276498a" providerId="AD" clId="Web-{48330AE5-3FBB-5063-DC47-3C8789E10853}" dt="2021-06-30T17:34:19.152" v="148" actId="20577"/>
        <pc:sldMkLst>
          <pc:docMk/>
          <pc:sldMk cId="3198015444" sldId="278"/>
        </pc:sldMkLst>
        <pc:spChg chg="mod">
          <ac:chgData name="Martin Wahl" userId="S::mawahl@microsoft.com::63283daa-9606-4894-9ca7-dd1cd276498a" providerId="AD" clId="Web-{48330AE5-3FBB-5063-DC47-3C8789E10853}" dt="2021-06-30T17:34:19.152" v="148" actId="20577"/>
          <ac:spMkLst>
            <pc:docMk/>
            <pc:sldMk cId="3198015444" sldId="278"/>
            <ac:spMk id="5" creationId="{5D1051BB-FFC0-4EFD-BEA1-74C475C9EF07}"/>
          </ac:spMkLst>
        </pc:spChg>
      </pc:sldChg>
      <pc:sldChg chg="modSp">
        <pc:chgData name="Martin Wahl" userId="S::mawahl@microsoft.com::63283daa-9606-4894-9ca7-dd1cd276498a" providerId="AD" clId="Web-{48330AE5-3FBB-5063-DC47-3C8789E10853}" dt="2021-06-30T17:34:06.714" v="145" actId="20577"/>
        <pc:sldMkLst>
          <pc:docMk/>
          <pc:sldMk cId="110819607" sldId="280"/>
        </pc:sldMkLst>
        <pc:spChg chg="mod">
          <ac:chgData name="Martin Wahl" userId="S::mawahl@microsoft.com::63283daa-9606-4894-9ca7-dd1cd276498a" providerId="AD" clId="Web-{48330AE5-3FBB-5063-DC47-3C8789E10853}" dt="2021-06-30T17:33:15.023" v="58" actId="20577"/>
          <ac:spMkLst>
            <pc:docMk/>
            <pc:sldMk cId="110819607" sldId="280"/>
            <ac:spMk id="4" creationId="{19AB4516-FD1F-4AD4-AA3A-9395F8B7A1F9}"/>
          </ac:spMkLst>
        </pc:spChg>
        <pc:spChg chg="mod">
          <ac:chgData name="Martin Wahl" userId="S::mawahl@microsoft.com::63283daa-9606-4894-9ca7-dd1cd276498a" providerId="AD" clId="Web-{48330AE5-3FBB-5063-DC47-3C8789E10853}" dt="2021-06-30T17:34:06.714" v="145" actId="20577"/>
          <ac:spMkLst>
            <pc:docMk/>
            <pc:sldMk cId="110819607" sldId="280"/>
            <ac:spMk id="5" creationId="{2888D0F9-982E-41FC-950B-A13CB0DBEF9C}"/>
          </ac:spMkLst>
        </pc:spChg>
      </pc:sldChg>
    </pc:docChg>
  </pc:docChgLst>
  <pc:docChgLst>
    <pc:chgData name="Greg Degruy" userId="4bdf9f43-072c-4de2-b566-5c125c1a6a54" providerId="ADAL" clId="{146560EF-F81F-4030-AF90-736BA5C28832}"/>
    <pc:docChg chg="modSld">
      <pc:chgData name="Greg Degruy" userId="4bdf9f43-072c-4de2-b566-5c125c1a6a54" providerId="ADAL" clId="{146560EF-F81F-4030-AF90-736BA5C28832}" dt="2021-08-20T21:36:57.059" v="3" actId="20577"/>
      <pc:docMkLst>
        <pc:docMk/>
      </pc:docMkLst>
      <pc:sldChg chg="modSp mod">
        <pc:chgData name="Greg Degruy" userId="4bdf9f43-072c-4de2-b566-5c125c1a6a54" providerId="ADAL" clId="{146560EF-F81F-4030-AF90-736BA5C28832}" dt="2021-08-20T21:36:57.059" v="3" actId="20577"/>
        <pc:sldMkLst>
          <pc:docMk/>
          <pc:sldMk cId="804594584" sldId="2147469606"/>
        </pc:sldMkLst>
        <pc:spChg chg="mod">
          <ac:chgData name="Greg Degruy" userId="4bdf9f43-072c-4de2-b566-5c125c1a6a54" providerId="ADAL" clId="{146560EF-F81F-4030-AF90-736BA5C28832}" dt="2021-08-20T21:36:57.059" v="3" actId="20577"/>
          <ac:spMkLst>
            <pc:docMk/>
            <pc:sldMk cId="804594584" sldId="2147469606"/>
            <ac:spMk id="20" creationId="{53FD5835-B5B3-44EF-9305-FEB8C4DF55B4}"/>
          </ac:spMkLst>
        </pc:spChg>
      </pc:sldChg>
    </pc:docChg>
  </pc:docChgLst>
  <pc:docChgLst>
    <pc:chgData name="Amandeep Singh (HCL TECHNOLOGIES LTD)" userId="192f9da3-bd5c-42c3-8f41-80b8549e6782" providerId="ADAL" clId="{F830C17E-9D64-4BEF-A194-2F47D1141FB7}"/>
    <pc:docChg chg="undo custSel addSld modSld sldOrd">
      <pc:chgData name="Amandeep Singh (HCL TECHNOLOGIES LTD)" userId="192f9da3-bd5c-42c3-8f41-80b8549e6782" providerId="ADAL" clId="{F830C17E-9D64-4BEF-A194-2F47D1141FB7}" dt="2021-06-16T18:22:26.654" v="265" actId="26606"/>
      <pc:docMkLst>
        <pc:docMk/>
      </pc:docMkLst>
      <pc:sldChg chg="modSp mod">
        <pc:chgData name="Amandeep Singh (HCL TECHNOLOGIES LTD)" userId="192f9da3-bd5c-42c3-8f41-80b8549e6782" providerId="ADAL" clId="{F830C17E-9D64-4BEF-A194-2F47D1141FB7}" dt="2021-06-15T16:39:50.901" v="23" actId="108"/>
        <pc:sldMkLst>
          <pc:docMk/>
          <pc:sldMk cId="2584029683" sldId="257"/>
        </pc:sldMkLst>
        <pc:spChg chg="mod">
          <ac:chgData name="Amandeep Singh (HCL TECHNOLOGIES LTD)" userId="192f9da3-bd5c-42c3-8f41-80b8549e6782" providerId="ADAL" clId="{F830C17E-9D64-4BEF-A194-2F47D1141FB7}" dt="2021-06-15T16:39:50.901" v="23" actId="108"/>
          <ac:spMkLst>
            <pc:docMk/>
            <pc:sldMk cId="2584029683" sldId="257"/>
            <ac:spMk id="4" creationId="{C07C45B8-4983-4FFB-BD8B-B2F43686E476}"/>
          </ac:spMkLst>
        </pc:spChg>
      </pc:sldChg>
      <pc:sldChg chg="addSp delSp modSp mod">
        <pc:chgData name="Amandeep Singh (HCL TECHNOLOGIES LTD)" userId="192f9da3-bd5c-42c3-8f41-80b8549e6782" providerId="ADAL" clId="{F830C17E-9D64-4BEF-A194-2F47D1141FB7}" dt="2021-06-15T19:56:39.100" v="255" actId="14100"/>
        <pc:sldMkLst>
          <pc:docMk/>
          <pc:sldMk cId="1224155370" sldId="264"/>
        </pc:sldMkLst>
        <pc:spChg chg="add del">
          <ac:chgData name="Amandeep Singh (HCL TECHNOLOGIES LTD)" userId="192f9da3-bd5c-42c3-8f41-80b8549e6782" providerId="ADAL" clId="{F830C17E-9D64-4BEF-A194-2F47D1141FB7}" dt="2021-06-15T19:52:40.938" v="235" actId="478"/>
          <ac:spMkLst>
            <pc:docMk/>
            <pc:sldMk cId="1224155370" sldId="264"/>
            <ac:spMk id="2" creationId="{6D5C64A7-399B-4795-9F8A-1E08D20C350A}"/>
          </ac:spMkLst>
        </pc:spChg>
        <pc:spChg chg="add mod">
          <ac:chgData name="Amandeep Singh (HCL TECHNOLOGIES LTD)" userId="192f9da3-bd5c-42c3-8f41-80b8549e6782" providerId="ADAL" clId="{F830C17E-9D64-4BEF-A194-2F47D1141FB7}" dt="2021-06-15T19:53:36.897" v="250" actId="108"/>
          <ac:spMkLst>
            <pc:docMk/>
            <pc:sldMk cId="1224155370" sldId="264"/>
            <ac:spMk id="3" creationId="{064AC8D0-A66E-41D5-B6F4-6AC57CBE7996}"/>
          </ac:spMkLst>
        </pc:spChg>
        <pc:spChg chg="mod">
          <ac:chgData name="Amandeep Singh (HCL TECHNOLOGIES LTD)" userId="192f9da3-bd5c-42c3-8f41-80b8549e6782" providerId="ADAL" clId="{F830C17E-9D64-4BEF-A194-2F47D1141FB7}" dt="2021-06-15T18:10:04.727" v="79" actId="6549"/>
          <ac:spMkLst>
            <pc:docMk/>
            <pc:sldMk cId="1224155370" sldId="264"/>
            <ac:spMk id="10" creationId="{67239103-D575-423F-8B20-3CE1A52423B7}"/>
          </ac:spMkLst>
        </pc:spChg>
        <pc:spChg chg="mod">
          <ac:chgData name="Amandeep Singh (HCL TECHNOLOGIES LTD)" userId="192f9da3-bd5c-42c3-8f41-80b8549e6782" providerId="ADAL" clId="{F830C17E-9D64-4BEF-A194-2F47D1141FB7}" dt="2021-06-15T19:53:14.113" v="243" actId="1076"/>
          <ac:spMkLst>
            <pc:docMk/>
            <pc:sldMk cId="1224155370" sldId="264"/>
            <ac:spMk id="18" creationId="{99220916-5964-4ED1-8660-5BE717822777}"/>
          </ac:spMkLst>
        </pc:spChg>
        <pc:spChg chg="mod">
          <ac:chgData name="Amandeep Singh (HCL TECHNOLOGIES LTD)" userId="192f9da3-bd5c-42c3-8f41-80b8549e6782" providerId="ADAL" clId="{F830C17E-9D64-4BEF-A194-2F47D1141FB7}" dt="2021-06-15T19:52:59.891" v="239" actId="1076"/>
          <ac:spMkLst>
            <pc:docMk/>
            <pc:sldMk cId="1224155370" sldId="264"/>
            <ac:spMk id="19" creationId="{FC82B98C-0321-4A28-9F0E-6A94724B526C}"/>
          </ac:spMkLst>
        </pc:spChg>
        <pc:spChg chg="mod">
          <ac:chgData name="Amandeep Singh (HCL TECHNOLOGIES LTD)" userId="192f9da3-bd5c-42c3-8f41-80b8549e6782" providerId="ADAL" clId="{F830C17E-9D64-4BEF-A194-2F47D1141FB7}" dt="2021-06-15T19:56:39.100" v="255" actId="14100"/>
          <ac:spMkLst>
            <pc:docMk/>
            <pc:sldMk cId="1224155370" sldId="264"/>
            <ac:spMk id="23" creationId="{C987651B-334D-4B13-8CE0-BB9271AF7724}"/>
          </ac:spMkLst>
        </pc:spChg>
        <pc:spChg chg="mod">
          <ac:chgData name="Amandeep Singh (HCL TECHNOLOGIES LTD)" userId="192f9da3-bd5c-42c3-8f41-80b8549e6782" providerId="ADAL" clId="{F830C17E-9D64-4BEF-A194-2F47D1141FB7}" dt="2021-06-15T16:44:26.722" v="54" actId="255"/>
          <ac:spMkLst>
            <pc:docMk/>
            <pc:sldMk cId="1224155370" sldId="264"/>
            <ac:spMk id="27" creationId="{4E7EB817-567A-4250-AA92-329F433F3203}"/>
          </ac:spMkLst>
        </pc:spChg>
        <pc:grpChg chg="add mod">
          <ac:chgData name="Amandeep Singh (HCL TECHNOLOGIES LTD)" userId="192f9da3-bd5c-42c3-8f41-80b8549e6782" providerId="ADAL" clId="{F830C17E-9D64-4BEF-A194-2F47D1141FB7}" dt="2021-06-15T19:54:11.393" v="252" actId="14100"/>
          <ac:grpSpMkLst>
            <pc:docMk/>
            <pc:sldMk cId="1224155370" sldId="264"/>
            <ac:grpSpMk id="4" creationId="{ED6AFCA3-BA6C-448A-9700-8D8D02E1D87B}"/>
          </ac:grpSpMkLst>
        </pc:grpChg>
      </pc:sldChg>
      <pc:sldChg chg="modSp mod">
        <pc:chgData name="Amandeep Singh (HCL TECHNOLOGIES LTD)" userId="192f9da3-bd5c-42c3-8f41-80b8549e6782" providerId="ADAL" clId="{F830C17E-9D64-4BEF-A194-2F47D1141FB7}" dt="2021-06-15T16:40:01.994" v="25" actId="108"/>
        <pc:sldMkLst>
          <pc:docMk/>
          <pc:sldMk cId="801181363" sldId="265"/>
        </pc:sldMkLst>
        <pc:spChg chg="mod">
          <ac:chgData name="Amandeep Singh (HCL TECHNOLOGIES LTD)" userId="192f9da3-bd5c-42c3-8f41-80b8549e6782" providerId="ADAL" clId="{F830C17E-9D64-4BEF-A194-2F47D1141FB7}" dt="2021-06-15T16:40:01.994" v="25" actId="108"/>
          <ac:spMkLst>
            <pc:docMk/>
            <pc:sldMk cId="801181363" sldId="265"/>
            <ac:spMk id="4" creationId="{C07C45B8-4983-4FFB-BD8B-B2F43686E476}"/>
          </ac:spMkLst>
        </pc:spChg>
      </pc:sldChg>
      <pc:sldChg chg="modSp mod">
        <pc:chgData name="Amandeep Singh (HCL TECHNOLOGIES LTD)" userId="192f9da3-bd5c-42c3-8f41-80b8549e6782" providerId="ADAL" clId="{F830C17E-9D64-4BEF-A194-2F47D1141FB7}" dt="2021-06-15T16:40:08.928" v="27" actId="108"/>
        <pc:sldMkLst>
          <pc:docMk/>
          <pc:sldMk cId="1984782908" sldId="266"/>
        </pc:sldMkLst>
        <pc:spChg chg="mod">
          <ac:chgData name="Amandeep Singh (HCL TECHNOLOGIES LTD)" userId="192f9da3-bd5c-42c3-8f41-80b8549e6782" providerId="ADAL" clId="{F830C17E-9D64-4BEF-A194-2F47D1141FB7}" dt="2021-06-15T16:40:08.928" v="27" actId="108"/>
          <ac:spMkLst>
            <pc:docMk/>
            <pc:sldMk cId="1984782908" sldId="266"/>
            <ac:spMk id="4" creationId="{C07C45B8-4983-4FFB-BD8B-B2F43686E476}"/>
          </ac:spMkLst>
        </pc:spChg>
      </pc:sldChg>
      <pc:sldChg chg="modSp mod">
        <pc:chgData name="Amandeep Singh (HCL TECHNOLOGIES LTD)" userId="192f9da3-bd5c-42c3-8f41-80b8549e6782" providerId="ADAL" clId="{F830C17E-9D64-4BEF-A194-2F47D1141FB7}" dt="2021-06-15T16:41:13.212" v="40" actId="108"/>
        <pc:sldMkLst>
          <pc:docMk/>
          <pc:sldMk cId="3360089249" sldId="267"/>
        </pc:sldMkLst>
        <pc:spChg chg="mod">
          <ac:chgData name="Amandeep Singh (HCL TECHNOLOGIES LTD)" userId="192f9da3-bd5c-42c3-8f41-80b8549e6782" providerId="ADAL" clId="{F830C17E-9D64-4BEF-A194-2F47D1141FB7}" dt="2021-06-15T16:41:13.212" v="40" actId="108"/>
          <ac:spMkLst>
            <pc:docMk/>
            <pc:sldMk cId="3360089249" sldId="267"/>
            <ac:spMk id="4" creationId="{C07C45B8-4983-4FFB-BD8B-B2F43686E476}"/>
          </ac:spMkLst>
        </pc:spChg>
      </pc:sldChg>
      <pc:sldChg chg="modSp mod">
        <pc:chgData name="Amandeep Singh (HCL TECHNOLOGIES LTD)" userId="192f9da3-bd5c-42c3-8f41-80b8549e6782" providerId="ADAL" clId="{F830C17E-9D64-4BEF-A194-2F47D1141FB7}" dt="2021-06-15T16:41:26.976" v="44" actId="108"/>
        <pc:sldMkLst>
          <pc:docMk/>
          <pc:sldMk cId="3929588503" sldId="268"/>
        </pc:sldMkLst>
        <pc:spChg chg="mod">
          <ac:chgData name="Amandeep Singh (HCL TECHNOLOGIES LTD)" userId="192f9da3-bd5c-42c3-8f41-80b8549e6782" providerId="ADAL" clId="{F830C17E-9D64-4BEF-A194-2F47D1141FB7}" dt="2021-06-15T16:41:26.976" v="44" actId="108"/>
          <ac:spMkLst>
            <pc:docMk/>
            <pc:sldMk cId="3929588503" sldId="268"/>
            <ac:spMk id="4" creationId="{C07C45B8-4983-4FFB-BD8B-B2F43686E476}"/>
          </ac:spMkLst>
        </pc:spChg>
      </pc:sldChg>
      <pc:sldChg chg="modSp mod">
        <pc:chgData name="Amandeep Singh (HCL TECHNOLOGIES LTD)" userId="192f9da3-bd5c-42c3-8f41-80b8549e6782" providerId="ADAL" clId="{F830C17E-9D64-4BEF-A194-2F47D1141FB7}" dt="2021-06-15T16:40:33.200" v="32" actId="108"/>
        <pc:sldMkLst>
          <pc:docMk/>
          <pc:sldMk cId="1955426766" sldId="269"/>
        </pc:sldMkLst>
        <pc:spChg chg="mod">
          <ac:chgData name="Amandeep Singh (HCL TECHNOLOGIES LTD)" userId="192f9da3-bd5c-42c3-8f41-80b8549e6782" providerId="ADAL" clId="{F830C17E-9D64-4BEF-A194-2F47D1141FB7}" dt="2021-06-15T16:40:33.200" v="32" actId="108"/>
          <ac:spMkLst>
            <pc:docMk/>
            <pc:sldMk cId="1955426766" sldId="269"/>
            <ac:spMk id="4" creationId="{C07C45B8-4983-4FFB-BD8B-B2F43686E476}"/>
          </ac:spMkLst>
        </pc:spChg>
      </pc:sldChg>
      <pc:sldChg chg="modSp mod">
        <pc:chgData name="Amandeep Singh (HCL TECHNOLOGIES LTD)" userId="192f9da3-bd5c-42c3-8f41-80b8549e6782" providerId="ADAL" clId="{F830C17E-9D64-4BEF-A194-2F47D1141FB7}" dt="2021-06-15T16:40:21.927" v="30" actId="108"/>
        <pc:sldMkLst>
          <pc:docMk/>
          <pc:sldMk cId="3507116976" sldId="270"/>
        </pc:sldMkLst>
        <pc:spChg chg="mod">
          <ac:chgData name="Amandeep Singh (HCL TECHNOLOGIES LTD)" userId="192f9da3-bd5c-42c3-8f41-80b8549e6782" providerId="ADAL" clId="{F830C17E-9D64-4BEF-A194-2F47D1141FB7}" dt="2021-06-15T16:40:21.927" v="30" actId="108"/>
          <ac:spMkLst>
            <pc:docMk/>
            <pc:sldMk cId="3507116976" sldId="270"/>
            <ac:spMk id="4" creationId="{C07C45B8-4983-4FFB-BD8B-B2F43686E476}"/>
          </ac:spMkLst>
        </pc:spChg>
      </pc:sldChg>
      <pc:sldChg chg="modSp mod">
        <pc:chgData name="Amandeep Singh (HCL TECHNOLOGIES LTD)" userId="192f9da3-bd5c-42c3-8f41-80b8549e6782" providerId="ADAL" clId="{F830C17E-9D64-4BEF-A194-2F47D1141FB7}" dt="2021-06-15T16:40:42.849" v="34" actId="108"/>
        <pc:sldMkLst>
          <pc:docMk/>
          <pc:sldMk cId="4059597377" sldId="271"/>
        </pc:sldMkLst>
        <pc:spChg chg="mod">
          <ac:chgData name="Amandeep Singh (HCL TECHNOLOGIES LTD)" userId="192f9da3-bd5c-42c3-8f41-80b8549e6782" providerId="ADAL" clId="{F830C17E-9D64-4BEF-A194-2F47D1141FB7}" dt="2021-06-15T16:40:42.849" v="34" actId="108"/>
          <ac:spMkLst>
            <pc:docMk/>
            <pc:sldMk cId="4059597377" sldId="271"/>
            <ac:spMk id="4" creationId="{C07C45B8-4983-4FFB-BD8B-B2F43686E476}"/>
          </ac:spMkLst>
        </pc:spChg>
      </pc:sldChg>
      <pc:sldChg chg="modSp mod">
        <pc:chgData name="Amandeep Singh (HCL TECHNOLOGIES LTD)" userId="192f9da3-bd5c-42c3-8f41-80b8549e6782" providerId="ADAL" clId="{F830C17E-9D64-4BEF-A194-2F47D1141FB7}" dt="2021-06-15T16:39:43.741" v="21" actId="108"/>
        <pc:sldMkLst>
          <pc:docMk/>
          <pc:sldMk cId="2059851483" sldId="273"/>
        </pc:sldMkLst>
        <pc:spChg chg="mod">
          <ac:chgData name="Amandeep Singh (HCL TECHNOLOGIES LTD)" userId="192f9da3-bd5c-42c3-8f41-80b8549e6782" providerId="ADAL" clId="{F830C17E-9D64-4BEF-A194-2F47D1141FB7}" dt="2021-06-15T16:39:43.741" v="21" actId="108"/>
          <ac:spMkLst>
            <pc:docMk/>
            <pc:sldMk cId="2059851483" sldId="273"/>
            <ac:spMk id="5" creationId="{85C12988-1516-44F3-98CE-97F59A17ADD7}"/>
          </ac:spMkLst>
        </pc:spChg>
      </pc:sldChg>
      <pc:sldChg chg="modSp mod">
        <pc:chgData name="Amandeep Singh (HCL TECHNOLOGIES LTD)" userId="192f9da3-bd5c-42c3-8f41-80b8549e6782" providerId="ADAL" clId="{F830C17E-9D64-4BEF-A194-2F47D1141FB7}" dt="2021-06-15T16:41:45.224" v="47" actId="108"/>
        <pc:sldMkLst>
          <pc:docMk/>
          <pc:sldMk cId="4136490571" sldId="274"/>
        </pc:sldMkLst>
        <pc:spChg chg="mod">
          <ac:chgData name="Amandeep Singh (HCL TECHNOLOGIES LTD)" userId="192f9da3-bd5c-42c3-8f41-80b8549e6782" providerId="ADAL" clId="{F830C17E-9D64-4BEF-A194-2F47D1141FB7}" dt="2021-06-15T16:41:45.224" v="47" actId="108"/>
          <ac:spMkLst>
            <pc:docMk/>
            <pc:sldMk cId="4136490571" sldId="274"/>
            <ac:spMk id="7" creationId="{820950D6-D43E-47B6-B55D-D71C690E7FB5}"/>
          </ac:spMkLst>
        </pc:spChg>
      </pc:sldChg>
      <pc:sldChg chg="modSp mod">
        <pc:chgData name="Amandeep Singh (HCL TECHNOLOGIES LTD)" userId="192f9da3-bd5c-42c3-8f41-80b8549e6782" providerId="ADAL" clId="{F830C17E-9D64-4BEF-A194-2F47D1141FB7}" dt="2021-06-15T16:42:06.472" v="51" actId="108"/>
        <pc:sldMkLst>
          <pc:docMk/>
          <pc:sldMk cId="3225290215" sldId="275"/>
        </pc:sldMkLst>
        <pc:spChg chg="mod">
          <ac:chgData name="Amandeep Singh (HCL TECHNOLOGIES LTD)" userId="192f9da3-bd5c-42c3-8f41-80b8549e6782" providerId="ADAL" clId="{F830C17E-9D64-4BEF-A194-2F47D1141FB7}" dt="2021-06-15T16:42:06.472" v="51" actId="108"/>
          <ac:spMkLst>
            <pc:docMk/>
            <pc:sldMk cId="3225290215" sldId="275"/>
            <ac:spMk id="39" creationId="{8094C93D-57CE-47B4-BE4C-B8CC97D4912C}"/>
          </ac:spMkLst>
        </pc:spChg>
      </pc:sldChg>
      <pc:sldChg chg="addSp delSp modSp new mod ord">
        <pc:chgData name="Amandeep Singh (HCL TECHNOLOGIES LTD)" userId="192f9da3-bd5c-42c3-8f41-80b8549e6782" providerId="ADAL" clId="{F830C17E-9D64-4BEF-A194-2F47D1141FB7}" dt="2021-06-15T19:52:07.316" v="233" actId="108"/>
        <pc:sldMkLst>
          <pc:docMk/>
          <pc:sldMk cId="104688657" sldId="276"/>
        </pc:sldMkLst>
        <pc:spChg chg="del">
          <ac:chgData name="Amandeep Singh (HCL TECHNOLOGIES LTD)" userId="192f9da3-bd5c-42c3-8f41-80b8549e6782" providerId="ADAL" clId="{F830C17E-9D64-4BEF-A194-2F47D1141FB7}" dt="2021-06-15T16:37:03.030" v="3" actId="478"/>
          <ac:spMkLst>
            <pc:docMk/>
            <pc:sldMk cId="104688657" sldId="276"/>
            <ac:spMk id="2" creationId="{CC125CC3-2EBD-487D-9012-CCF3EC56EE50}"/>
          </ac:spMkLst>
        </pc:spChg>
        <pc:spChg chg="del">
          <ac:chgData name="Amandeep Singh (HCL TECHNOLOGIES LTD)" userId="192f9da3-bd5c-42c3-8f41-80b8549e6782" providerId="ADAL" clId="{F830C17E-9D64-4BEF-A194-2F47D1141FB7}" dt="2021-06-15T16:37:04.988" v="4" actId="478"/>
          <ac:spMkLst>
            <pc:docMk/>
            <pc:sldMk cId="104688657" sldId="276"/>
            <ac:spMk id="3" creationId="{694BD1A7-203D-4FD1-9F38-7C4AEE34AC8A}"/>
          </ac:spMkLst>
        </pc:spChg>
        <pc:spChg chg="add mod">
          <ac:chgData name="Amandeep Singh (HCL TECHNOLOGIES LTD)" userId="192f9da3-bd5c-42c3-8f41-80b8549e6782" providerId="ADAL" clId="{F830C17E-9D64-4BEF-A194-2F47D1141FB7}" dt="2021-06-15T16:37:09.604" v="6" actId="1076"/>
          <ac:spMkLst>
            <pc:docMk/>
            <pc:sldMk cId="104688657" sldId="276"/>
            <ac:spMk id="5" creationId="{D25F63A5-8E57-403E-AEFA-0F8389FF209E}"/>
          </ac:spMkLst>
        </pc:spChg>
        <pc:spChg chg="add mod">
          <ac:chgData name="Amandeep Singh (HCL TECHNOLOGIES LTD)" userId="192f9da3-bd5c-42c3-8f41-80b8549e6782" providerId="ADAL" clId="{F830C17E-9D64-4BEF-A194-2F47D1141FB7}" dt="2021-06-15T19:49:40.009" v="103" actId="14100"/>
          <ac:spMkLst>
            <pc:docMk/>
            <pc:sldMk cId="104688657" sldId="276"/>
            <ac:spMk id="7" creationId="{2D41B9E6-4DC6-4BBE-973E-422403B2AE6D}"/>
          </ac:spMkLst>
        </pc:spChg>
        <pc:spChg chg="add mod">
          <ac:chgData name="Amandeep Singh (HCL TECHNOLOGIES LTD)" userId="192f9da3-bd5c-42c3-8f41-80b8549e6782" providerId="ADAL" clId="{F830C17E-9D64-4BEF-A194-2F47D1141FB7}" dt="2021-06-15T19:49:40.727" v="105" actId="14100"/>
          <ac:spMkLst>
            <pc:docMk/>
            <pc:sldMk cId="104688657" sldId="276"/>
            <ac:spMk id="9" creationId="{D8C10C5C-64DD-4675-98D4-76B48B718EB7}"/>
          </ac:spMkLst>
        </pc:spChg>
        <pc:spChg chg="add mod">
          <ac:chgData name="Amandeep Singh (HCL TECHNOLOGIES LTD)" userId="192f9da3-bd5c-42c3-8f41-80b8549e6782" providerId="ADAL" clId="{F830C17E-9D64-4BEF-A194-2F47D1141FB7}" dt="2021-06-15T19:49:44.084" v="111" actId="14100"/>
          <ac:spMkLst>
            <pc:docMk/>
            <pc:sldMk cId="104688657" sldId="276"/>
            <ac:spMk id="11" creationId="{EC88DD1F-50A7-4B2C-A7CB-F451D338A952}"/>
          </ac:spMkLst>
        </pc:spChg>
        <pc:spChg chg="add mod">
          <ac:chgData name="Amandeep Singh (HCL TECHNOLOGIES LTD)" userId="192f9da3-bd5c-42c3-8f41-80b8549e6782" providerId="ADAL" clId="{F830C17E-9D64-4BEF-A194-2F47D1141FB7}" dt="2021-06-15T19:49:42.700" v="110" actId="14100"/>
          <ac:spMkLst>
            <pc:docMk/>
            <pc:sldMk cId="104688657" sldId="276"/>
            <ac:spMk id="13" creationId="{2005CE07-75C6-4FE1-B9EC-1B7EAAC7DE8E}"/>
          </ac:spMkLst>
        </pc:spChg>
        <pc:spChg chg="add mod">
          <ac:chgData name="Amandeep Singh (HCL TECHNOLOGIES LTD)" userId="192f9da3-bd5c-42c3-8f41-80b8549e6782" providerId="ADAL" clId="{F830C17E-9D64-4BEF-A194-2F47D1141FB7}" dt="2021-06-15T19:49:42.115" v="108" actId="1076"/>
          <ac:spMkLst>
            <pc:docMk/>
            <pc:sldMk cId="104688657" sldId="276"/>
            <ac:spMk id="15" creationId="{7E84F624-4317-4BC0-B8C9-D3B68FEC6CCC}"/>
          </ac:spMkLst>
        </pc:spChg>
        <pc:spChg chg="add mod">
          <ac:chgData name="Amandeep Singh (HCL TECHNOLOGIES LTD)" userId="192f9da3-bd5c-42c3-8f41-80b8549e6782" providerId="ADAL" clId="{F830C17E-9D64-4BEF-A194-2F47D1141FB7}" dt="2021-06-15T19:49:41.613" v="107" actId="1076"/>
          <ac:spMkLst>
            <pc:docMk/>
            <pc:sldMk cId="104688657" sldId="276"/>
            <ac:spMk id="17" creationId="{271A41D9-272C-465B-A823-8B221E3E1D3E}"/>
          </ac:spMkLst>
        </pc:spChg>
        <pc:spChg chg="add mod">
          <ac:chgData name="Amandeep Singh (HCL TECHNOLOGIES LTD)" userId="192f9da3-bd5c-42c3-8f41-80b8549e6782" providerId="ADAL" clId="{F830C17E-9D64-4BEF-A194-2F47D1141FB7}" dt="2021-06-15T19:49:41.074" v="106" actId="1076"/>
          <ac:spMkLst>
            <pc:docMk/>
            <pc:sldMk cId="104688657" sldId="276"/>
            <ac:spMk id="19" creationId="{517E8903-D2FC-4608-8FF2-9B2AE70F5385}"/>
          </ac:spMkLst>
        </pc:spChg>
        <pc:spChg chg="add">
          <ac:chgData name="Amandeep Singh (HCL TECHNOLOGIES LTD)" userId="192f9da3-bd5c-42c3-8f41-80b8549e6782" providerId="ADAL" clId="{F830C17E-9D64-4BEF-A194-2F47D1141FB7}" dt="2021-06-15T16:38:26.158" v="11" actId="22"/>
          <ac:spMkLst>
            <pc:docMk/>
            <pc:sldMk cId="104688657" sldId="276"/>
            <ac:spMk id="21" creationId="{91665FA5-6293-4D7C-9CBE-29E19222F021}"/>
          </ac:spMkLst>
        </pc:spChg>
        <pc:spChg chg="add mod">
          <ac:chgData name="Amandeep Singh (HCL TECHNOLOGIES LTD)" userId="192f9da3-bd5c-42c3-8f41-80b8549e6782" providerId="ADAL" clId="{F830C17E-9D64-4BEF-A194-2F47D1141FB7}" dt="2021-06-15T19:49:56.629" v="114" actId="1076"/>
          <ac:spMkLst>
            <pc:docMk/>
            <pc:sldMk cId="104688657" sldId="276"/>
            <ac:spMk id="23" creationId="{3259B4B1-EEC0-4C8D-8CB4-C027BBE1902E}"/>
          </ac:spMkLst>
        </pc:spChg>
        <pc:spChg chg="add">
          <ac:chgData name="Amandeep Singh (HCL TECHNOLOGIES LTD)" userId="192f9da3-bd5c-42c3-8f41-80b8549e6782" providerId="ADAL" clId="{F830C17E-9D64-4BEF-A194-2F47D1141FB7}" dt="2021-06-15T16:38:26.158" v="11" actId="22"/>
          <ac:spMkLst>
            <pc:docMk/>
            <pc:sldMk cId="104688657" sldId="276"/>
            <ac:spMk id="25" creationId="{9D4E8F19-661A-405A-AB44-3F221716160B}"/>
          </ac:spMkLst>
        </pc:spChg>
        <pc:spChg chg="add">
          <ac:chgData name="Amandeep Singh (HCL TECHNOLOGIES LTD)" userId="192f9da3-bd5c-42c3-8f41-80b8549e6782" providerId="ADAL" clId="{F830C17E-9D64-4BEF-A194-2F47D1141FB7}" dt="2021-06-15T16:38:26.158" v="11" actId="22"/>
          <ac:spMkLst>
            <pc:docMk/>
            <pc:sldMk cId="104688657" sldId="276"/>
            <ac:spMk id="27" creationId="{73806BC2-4CD5-4E31-9751-86A2B727E208}"/>
          </ac:spMkLst>
        </pc:spChg>
        <pc:spChg chg="add">
          <ac:chgData name="Amandeep Singh (HCL TECHNOLOGIES LTD)" userId="192f9da3-bd5c-42c3-8f41-80b8549e6782" providerId="ADAL" clId="{F830C17E-9D64-4BEF-A194-2F47D1141FB7}" dt="2021-06-15T16:38:26.158" v="11" actId="22"/>
          <ac:spMkLst>
            <pc:docMk/>
            <pc:sldMk cId="104688657" sldId="276"/>
            <ac:spMk id="29" creationId="{DCCD07FA-B712-410F-824F-53D67551D3BC}"/>
          </ac:spMkLst>
        </pc:spChg>
        <pc:spChg chg="add">
          <ac:chgData name="Amandeep Singh (HCL TECHNOLOGIES LTD)" userId="192f9da3-bd5c-42c3-8f41-80b8549e6782" providerId="ADAL" clId="{F830C17E-9D64-4BEF-A194-2F47D1141FB7}" dt="2021-06-15T16:38:26.158" v="11" actId="22"/>
          <ac:spMkLst>
            <pc:docMk/>
            <pc:sldMk cId="104688657" sldId="276"/>
            <ac:spMk id="31" creationId="{5F912FBA-2B7C-4FD3-92FB-30ADF57D4A83}"/>
          </ac:spMkLst>
        </pc:spChg>
        <pc:spChg chg="add">
          <ac:chgData name="Amandeep Singh (HCL TECHNOLOGIES LTD)" userId="192f9da3-bd5c-42c3-8f41-80b8549e6782" providerId="ADAL" clId="{F830C17E-9D64-4BEF-A194-2F47D1141FB7}" dt="2021-06-15T16:38:26.158" v="11" actId="22"/>
          <ac:spMkLst>
            <pc:docMk/>
            <pc:sldMk cId="104688657" sldId="276"/>
            <ac:spMk id="33" creationId="{26895FB1-76A3-42A3-A316-26CF9AC88DA7}"/>
          </ac:spMkLst>
        </pc:spChg>
        <pc:spChg chg="add">
          <ac:chgData name="Amandeep Singh (HCL TECHNOLOGIES LTD)" userId="192f9da3-bd5c-42c3-8f41-80b8549e6782" providerId="ADAL" clId="{F830C17E-9D64-4BEF-A194-2F47D1141FB7}" dt="2021-06-15T16:38:26.158" v="11" actId="22"/>
          <ac:spMkLst>
            <pc:docMk/>
            <pc:sldMk cId="104688657" sldId="276"/>
            <ac:spMk id="35" creationId="{AAB27084-8E2F-4165-88D4-21AEBAD4B82D}"/>
          </ac:spMkLst>
        </pc:spChg>
        <pc:spChg chg="add mod">
          <ac:chgData name="Amandeep Singh (HCL TECHNOLOGIES LTD)" userId="192f9da3-bd5c-42c3-8f41-80b8549e6782" providerId="ADAL" clId="{F830C17E-9D64-4BEF-A194-2F47D1141FB7}" dt="2021-06-15T19:50:03.490" v="116" actId="14100"/>
          <ac:spMkLst>
            <pc:docMk/>
            <pc:sldMk cId="104688657" sldId="276"/>
            <ac:spMk id="37" creationId="{4776C0CB-9F2C-4083-B9DF-4175DDB79EFB}"/>
          </ac:spMkLst>
        </pc:spChg>
        <pc:spChg chg="add">
          <ac:chgData name="Amandeep Singh (HCL TECHNOLOGIES LTD)" userId="192f9da3-bd5c-42c3-8f41-80b8549e6782" providerId="ADAL" clId="{F830C17E-9D64-4BEF-A194-2F47D1141FB7}" dt="2021-06-15T16:38:26.158" v="11" actId="22"/>
          <ac:spMkLst>
            <pc:docMk/>
            <pc:sldMk cId="104688657" sldId="276"/>
            <ac:spMk id="39" creationId="{578C7162-6650-4626-84E8-A21BB38F601C}"/>
          </ac:spMkLst>
        </pc:spChg>
        <pc:spChg chg="add mod">
          <ac:chgData name="Amandeep Singh (HCL TECHNOLOGIES LTD)" userId="192f9da3-bd5c-42c3-8f41-80b8549e6782" providerId="ADAL" clId="{F830C17E-9D64-4BEF-A194-2F47D1141FB7}" dt="2021-06-15T19:49:59.622" v="115" actId="14100"/>
          <ac:spMkLst>
            <pc:docMk/>
            <pc:sldMk cId="104688657" sldId="276"/>
            <ac:spMk id="41" creationId="{553BF5B2-719F-4A0E-8FA1-7754BAA1D2E3}"/>
          </ac:spMkLst>
        </pc:spChg>
        <pc:spChg chg="add">
          <ac:chgData name="Amandeep Singh (HCL TECHNOLOGIES LTD)" userId="192f9da3-bd5c-42c3-8f41-80b8549e6782" providerId="ADAL" clId="{F830C17E-9D64-4BEF-A194-2F47D1141FB7}" dt="2021-06-15T16:38:26.158" v="11" actId="22"/>
          <ac:spMkLst>
            <pc:docMk/>
            <pc:sldMk cId="104688657" sldId="276"/>
            <ac:spMk id="43" creationId="{B5B3CF45-43D8-4201-9717-F2087B0A9CC7}"/>
          </ac:spMkLst>
        </pc:spChg>
        <pc:spChg chg="add">
          <ac:chgData name="Amandeep Singh (HCL TECHNOLOGIES LTD)" userId="192f9da3-bd5c-42c3-8f41-80b8549e6782" providerId="ADAL" clId="{F830C17E-9D64-4BEF-A194-2F47D1141FB7}" dt="2021-06-15T16:38:26.158" v="11" actId="22"/>
          <ac:spMkLst>
            <pc:docMk/>
            <pc:sldMk cId="104688657" sldId="276"/>
            <ac:spMk id="45" creationId="{786A8F82-3D40-4542-95F2-E05713266CCC}"/>
          </ac:spMkLst>
        </pc:spChg>
        <pc:spChg chg="add">
          <ac:chgData name="Amandeep Singh (HCL TECHNOLOGIES LTD)" userId="192f9da3-bd5c-42c3-8f41-80b8549e6782" providerId="ADAL" clId="{F830C17E-9D64-4BEF-A194-2F47D1141FB7}" dt="2021-06-15T16:38:26.158" v="11" actId="22"/>
          <ac:spMkLst>
            <pc:docMk/>
            <pc:sldMk cId="104688657" sldId="276"/>
            <ac:spMk id="47" creationId="{CDC7A7B5-46CB-46CC-BDE2-C0EABE14B4FE}"/>
          </ac:spMkLst>
        </pc:spChg>
        <pc:spChg chg="add del">
          <ac:chgData name="Amandeep Singh (HCL TECHNOLOGIES LTD)" userId="192f9da3-bd5c-42c3-8f41-80b8549e6782" providerId="ADAL" clId="{F830C17E-9D64-4BEF-A194-2F47D1141FB7}" dt="2021-06-15T16:38:51.202" v="15" actId="22"/>
          <ac:spMkLst>
            <pc:docMk/>
            <pc:sldMk cId="104688657" sldId="276"/>
            <ac:spMk id="50" creationId="{4B724040-8783-445C-85C1-7EC087B9A65C}"/>
          </ac:spMkLst>
        </pc:spChg>
        <pc:spChg chg="add del">
          <ac:chgData name="Amandeep Singh (HCL TECHNOLOGIES LTD)" userId="192f9da3-bd5c-42c3-8f41-80b8549e6782" providerId="ADAL" clId="{F830C17E-9D64-4BEF-A194-2F47D1141FB7}" dt="2021-06-15T16:38:51.202" v="15" actId="22"/>
          <ac:spMkLst>
            <pc:docMk/>
            <pc:sldMk cId="104688657" sldId="276"/>
            <ac:spMk id="52" creationId="{8F037C1C-5DB2-41E5-8074-211AD0FD85E5}"/>
          </ac:spMkLst>
        </pc:spChg>
        <pc:spChg chg="add del">
          <ac:chgData name="Amandeep Singh (HCL TECHNOLOGIES LTD)" userId="192f9da3-bd5c-42c3-8f41-80b8549e6782" providerId="ADAL" clId="{F830C17E-9D64-4BEF-A194-2F47D1141FB7}" dt="2021-06-15T16:38:51.202" v="15" actId="22"/>
          <ac:spMkLst>
            <pc:docMk/>
            <pc:sldMk cId="104688657" sldId="276"/>
            <ac:spMk id="54" creationId="{1EDDAF18-0044-419D-96BC-860373F60C6A}"/>
          </ac:spMkLst>
        </pc:spChg>
        <pc:spChg chg="add del">
          <ac:chgData name="Amandeep Singh (HCL TECHNOLOGIES LTD)" userId="192f9da3-bd5c-42c3-8f41-80b8549e6782" providerId="ADAL" clId="{F830C17E-9D64-4BEF-A194-2F47D1141FB7}" dt="2021-06-15T16:38:51.202" v="15" actId="22"/>
          <ac:spMkLst>
            <pc:docMk/>
            <pc:sldMk cId="104688657" sldId="276"/>
            <ac:spMk id="56" creationId="{C31D99EF-64CC-4936-A9E9-7A8090F26890}"/>
          </ac:spMkLst>
        </pc:spChg>
        <pc:spChg chg="add del">
          <ac:chgData name="Amandeep Singh (HCL TECHNOLOGIES LTD)" userId="192f9da3-bd5c-42c3-8f41-80b8549e6782" providerId="ADAL" clId="{F830C17E-9D64-4BEF-A194-2F47D1141FB7}" dt="2021-06-15T16:38:51.202" v="15" actId="22"/>
          <ac:spMkLst>
            <pc:docMk/>
            <pc:sldMk cId="104688657" sldId="276"/>
            <ac:spMk id="58" creationId="{882A7C13-8107-486C-84E2-5CB96E1EEDDF}"/>
          </ac:spMkLst>
        </pc:spChg>
        <pc:spChg chg="add del">
          <ac:chgData name="Amandeep Singh (HCL TECHNOLOGIES LTD)" userId="192f9da3-bd5c-42c3-8f41-80b8549e6782" providerId="ADAL" clId="{F830C17E-9D64-4BEF-A194-2F47D1141FB7}" dt="2021-06-15T16:38:51.202" v="15" actId="22"/>
          <ac:spMkLst>
            <pc:docMk/>
            <pc:sldMk cId="104688657" sldId="276"/>
            <ac:spMk id="60" creationId="{1F895B74-FE8B-4A27-923A-3420FC553A56}"/>
          </ac:spMkLst>
        </pc:spChg>
        <pc:spChg chg="add del">
          <ac:chgData name="Amandeep Singh (HCL TECHNOLOGIES LTD)" userId="192f9da3-bd5c-42c3-8f41-80b8549e6782" providerId="ADAL" clId="{F830C17E-9D64-4BEF-A194-2F47D1141FB7}" dt="2021-06-15T16:38:51.202" v="15" actId="22"/>
          <ac:spMkLst>
            <pc:docMk/>
            <pc:sldMk cId="104688657" sldId="276"/>
            <ac:spMk id="62" creationId="{5722CCD2-9F1C-4605-ADD6-726A4621D652}"/>
          </ac:spMkLst>
        </pc:spChg>
        <pc:spChg chg="add del">
          <ac:chgData name="Amandeep Singh (HCL TECHNOLOGIES LTD)" userId="192f9da3-bd5c-42c3-8f41-80b8549e6782" providerId="ADAL" clId="{F830C17E-9D64-4BEF-A194-2F47D1141FB7}" dt="2021-06-15T16:38:51.202" v="15" actId="22"/>
          <ac:spMkLst>
            <pc:docMk/>
            <pc:sldMk cId="104688657" sldId="276"/>
            <ac:spMk id="64" creationId="{B8D8BEFA-8088-46BB-8265-2848BD1D06C7}"/>
          </ac:spMkLst>
        </pc:spChg>
        <pc:spChg chg="add del">
          <ac:chgData name="Amandeep Singh (HCL TECHNOLOGIES LTD)" userId="192f9da3-bd5c-42c3-8f41-80b8549e6782" providerId="ADAL" clId="{F830C17E-9D64-4BEF-A194-2F47D1141FB7}" dt="2021-06-15T16:38:51.202" v="15" actId="22"/>
          <ac:spMkLst>
            <pc:docMk/>
            <pc:sldMk cId="104688657" sldId="276"/>
            <ac:spMk id="66" creationId="{93B7A923-69DD-41D8-85A8-B8C71F16BE2C}"/>
          </ac:spMkLst>
        </pc:spChg>
        <pc:spChg chg="add del">
          <ac:chgData name="Amandeep Singh (HCL TECHNOLOGIES LTD)" userId="192f9da3-bd5c-42c3-8f41-80b8549e6782" providerId="ADAL" clId="{F830C17E-9D64-4BEF-A194-2F47D1141FB7}" dt="2021-06-15T16:38:51.202" v="15" actId="22"/>
          <ac:spMkLst>
            <pc:docMk/>
            <pc:sldMk cId="104688657" sldId="276"/>
            <ac:spMk id="68" creationId="{C609ABA1-3B9A-46D3-9281-0E9A79ECAE02}"/>
          </ac:spMkLst>
        </pc:spChg>
        <pc:spChg chg="add del">
          <ac:chgData name="Amandeep Singh (HCL TECHNOLOGIES LTD)" userId="192f9da3-bd5c-42c3-8f41-80b8549e6782" providerId="ADAL" clId="{F830C17E-9D64-4BEF-A194-2F47D1141FB7}" dt="2021-06-15T16:38:51.202" v="15" actId="22"/>
          <ac:spMkLst>
            <pc:docMk/>
            <pc:sldMk cId="104688657" sldId="276"/>
            <ac:spMk id="70" creationId="{3CF32F0F-3504-4850-85F4-AE224A2D841A}"/>
          </ac:spMkLst>
        </pc:spChg>
        <pc:spChg chg="add del">
          <ac:chgData name="Amandeep Singh (HCL TECHNOLOGIES LTD)" userId="192f9da3-bd5c-42c3-8f41-80b8549e6782" providerId="ADAL" clId="{F830C17E-9D64-4BEF-A194-2F47D1141FB7}" dt="2021-06-15T16:38:51.202" v="15" actId="22"/>
          <ac:spMkLst>
            <pc:docMk/>
            <pc:sldMk cId="104688657" sldId="276"/>
            <ac:spMk id="72" creationId="{52CAC23B-8FA6-4381-81EF-EFD45A974E8E}"/>
          </ac:spMkLst>
        </pc:spChg>
        <pc:spChg chg="add del">
          <ac:chgData name="Amandeep Singh (HCL TECHNOLOGIES LTD)" userId="192f9da3-bd5c-42c3-8f41-80b8549e6782" providerId="ADAL" clId="{F830C17E-9D64-4BEF-A194-2F47D1141FB7}" dt="2021-06-15T16:38:51.202" v="15" actId="22"/>
          <ac:spMkLst>
            <pc:docMk/>
            <pc:sldMk cId="104688657" sldId="276"/>
            <ac:spMk id="74" creationId="{02F17B09-6705-4639-AC3E-FC4BB0029913}"/>
          </ac:spMkLst>
        </pc:spChg>
        <pc:spChg chg="add del">
          <ac:chgData name="Amandeep Singh (HCL TECHNOLOGIES LTD)" userId="192f9da3-bd5c-42c3-8f41-80b8549e6782" providerId="ADAL" clId="{F830C17E-9D64-4BEF-A194-2F47D1141FB7}" dt="2021-06-15T16:38:51.202" v="15" actId="22"/>
          <ac:spMkLst>
            <pc:docMk/>
            <pc:sldMk cId="104688657" sldId="276"/>
            <ac:spMk id="76" creationId="{2464B27D-5425-4A07-B984-3A14B87D547A}"/>
          </ac:spMkLst>
        </pc:spChg>
        <pc:spChg chg="add del">
          <ac:chgData name="Amandeep Singh (HCL TECHNOLOGIES LTD)" userId="192f9da3-bd5c-42c3-8f41-80b8549e6782" providerId="ADAL" clId="{F830C17E-9D64-4BEF-A194-2F47D1141FB7}" dt="2021-06-15T16:38:51.202" v="15" actId="22"/>
          <ac:spMkLst>
            <pc:docMk/>
            <pc:sldMk cId="104688657" sldId="276"/>
            <ac:spMk id="78" creationId="{C996A5CE-1098-4D7D-B3F6-AD11CDC45435}"/>
          </ac:spMkLst>
        </pc:spChg>
        <pc:spChg chg="add del">
          <ac:chgData name="Amandeep Singh (HCL TECHNOLOGIES LTD)" userId="192f9da3-bd5c-42c3-8f41-80b8549e6782" providerId="ADAL" clId="{F830C17E-9D64-4BEF-A194-2F47D1141FB7}" dt="2021-06-15T16:38:51.202" v="15" actId="22"/>
          <ac:spMkLst>
            <pc:docMk/>
            <pc:sldMk cId="104688657" sldId="276"/>
            <ac:spMk id="80" creationId="{EE1FD3A2-BDAF-4EE8-8EF6-545A38DDB37E}"/>
          </ac:spMkLst>
        </pc:spChg>
        <pc:spChg chg="add del">
          <ac:chgData name="Amandeep Singh (HCL TECHNOLOGIES LTD)" userId="192f9da3-bd5c-42c3-8f41-80b8549e6782" providerId="ADAL" clId="{F830C17E-9D64-4BEF-A194-2F47D1141FB7}" dt="2021-06-15T16:38:51.202" v="15" actId="22"/>
          <ac:spMkLst>
            <pc:docMk/>
            <pc:sldMk cId="104688657" sldId="276"/>
            <ac:spMk id="82" creationId="{493EF8B5-F1BB-416E-B22C-BC65ECEE7FBE}"/>
          </ac:spMkLst>
        </pc:spChg>
        <pc:spChg chg="add del">
          <ac:chgData name="Amandeep Singh (HCL TECHNOLOGIES LTD)" userId="192f9da3-bd5c-42c3-8f41-80b8549e6782" providerId="ADAL" clId="{F830C17E-9D64-4BEF-A194-2F47D1141FB7}" dt="2021-06-15T16:38:51.202" v="15" actId="22"/>
          <ac:spMkLst>
            <pc:docMk/>
            <pc:sldMk cId="104688657" sldId="276"/>
            <ac:spMk id="84" creationId="{A0A79DD3-DC2A-40BA-9C86-F0551DB43468}"/>
          </ac:spMkLst>
        </pc:spChg>
        <pc:spChg chg="add del">
          <ac:chgData name="Amandeep Singh (HCL TECHNOLOGIES LTD)" userId="192f9da3-bd5c-42c3-8f41-80b8549e6782" providerId="ADAL" clId="{F830C17E-9D64-4BEF-A194-2F47D1141FB7}" dt="2021-06-15T16:38:51.202" v="15" actId="22"/>
          <ac:spMkLst>
            <pc:docMk/>
            <pc:sldMk cId="104688657" sldId="276"/>
            <ac:spMk id="86" creationId="{BAC01736-87C8-4482-8071-670A40BD3D35}"/>
          </ac:spMkLst>
        </pc:spChg>
        <pc:spChg chg="add del">
          <ac:chgData name="Amandeep Singh (HCL TECHNOLOGIES LTD)" userId="192f9da3-bd5c-42c3-8f41-80b8549e6782" providerId="ADAL" clId="{F830C17E-9D64-4BEF-A194-2F47D1141FB7}" dt="2021-06-15T16:38:51.202" v="15" actId="22"/>
          <ac:spMkLst>
            <pc:docMk/>
            <pc:sldMk cId="104688657" sldId="276"/>
            <ac:spMk id="88" creationId="{8BC5F0F3-9130-4B18-948A-79BACAAC9E12}"/>
          </ac:spMkLst>
        </pc:spChg>
        <pc:spChg chg="add del">
          <ac:chgData name="Amandeep Singh (HCL TECHNOLOGIES LTD)" userId="192f9da3-bd5c-42c3-8f41-80b8549e6782" providerId="ADAL" clId="{F830C17E-9D64-4BEF-A194-2F47D1141FB7}" dt="2021-06-15T16:38:51.202" v="15" actId="22"/>
          <ac:spMkLst>
            <pc:docMk/>
            <pc:sldMk cId="104688657" sldId="276"/>
            <ac:spMk id="90" creationId="{C678C2BC-4E5F-4A48-904E-52F9BA89C99B}"/>
          </ac:spMkLst>
        </pc:spChg>
        <pc:spChg chg="add mod">
          <ac:chgData name="Amandeep Singh (HCL TECHNOLOGIES LTD)" userId="192f9da3-bd5c-42c3-8f41-80b8549e6782" providerId="ADAL" clId="{F830C17E-9D64-4BEF-A194-2F47D1141FB7}" dt="2021-06-15T19:50:23.634" v="120" actId="1076"/>
          <ac:spMkLst>
            <pc:docMk/>
            <pc:sldMk cId="104688657" sldId="276"/>
            <ac:spMk id="92" creationId="{36B0850A-82EF-4D76-A587-E5B3731B44AE}"/>
          </ac:spMkLst>
        </pc:spChg>
        <pc:spChg chg="add mod">
          <ac:chgData name="Amandeep Singh (HCL TECHNOLOGIES LTD)" userId="192f9da3-bd5c-42c3-8f41-80b8549e6782" providerId="ADAL" clId="{F830C17E-9D64-4BEF-A194-2F47D1141FB7}" dt="2021-06-15T19:50:25.817" v="121" actId="1076"/>
          <ac:spMkLst>
            <pc:docMk/>
            <pc:sldMk cId="104688657" sldId="276"/>
            <ac:spMk id="94" creationId="{232415EE-9F79-4665-B8AA-A6063B80A0AD}"/>
          </ac:spMkLst>
        </pc:spChg>
        <pc:spChg chg="add mod">
          <ac:chgData name="Amandeep Singh (HCL TECHNOLOGIES LTD)" userId="192f9da3-bd5c-42c3-8f41-80b8549e6782" providerId="ADAL" clId="{F830C17E-9D64-4BEF-A194-2F47D1141FB7}" dt="2021-06-15T19:52:07.316" v="233" actId="108"/>
          <ac:spMkLst>
            <pc:docMk/>
            <pc:sldMk cId="104688657" sldId="276"/>
            <ac:spMk id="96" creationId="{9889ADE2-8205-4CD5-A38D-5DE833811CB5}"/>
          </ac:spMkLst>
        </pc:spChg>
        <pc:grpChg chg="add mod">
          <ac:chgData name="Amandeep Singh (HCL TECHNOLOGIES LTD)" userId="192f9da3-bd5c-42c3-8f41-80b8549e6782" providerId="ADAL" clId="{F830C17E-9D64-4BEF-A194-2F47D1141FB7}" dt="2021-06-15T19:50:20.767" v="119" actId="14100"/>
          <ac:grpSpMkLst>
            <pc:docMk/>
            <pc:sldMk cId="104688657" sldId="276"/>
            <ac:grpSpMk id="48" creationId="{8B88DC52-167B-42A3-9C76-B9E28732C789}"/>
          </ac:grpSpMkLst>
        </pc:grpChg>
      </pc:sldChg>
      <pc:sldChg chg="addSp delSp modSp new mod setBg modClrScheme chgLayout">
        <pc:chgData name="Amandeep Singh (HCL TECHNOLOGIES LTD)" userId="192f9da3-bd5c-42c3-8f41-80b8549e6782" providerId="ADAL" clId="{F830C17E-9D64-4BEF-A194-2F47D1141FB7}" dt="2021-06-16T18:22:26.654" v="265" actId="26606"/>
        <pc:sldMkLst>
          <pc:docMk/>
          <pc:sldMk cId="4128801841" sldId="277"/>
        </pc:sldMkLst>
        <pc:spChg chg="del mod ord">
          <ac:chgData name="Amandeep Singh (HCL TECHNOLOGIES LTD)" userId="192f9da3-bd5c-42c3-8f41-80b8549e6782" providerId="ADAL" clId="{F830C17E-9D64-4BEF-A194-2F47D1141FB7}" dt="2021-06-16T18:17:38.642" v="257" actId="700"/>
          <ac:spMkLst>
            <pc:docMk/>
            <pc:sldMk cId="4128801841" sldId="277"/>
            <ac:spMk id="2" creationId="{D10D09CD-B390-49E8-8E7A-FDF33E66DFC9}"/>
          </ac:spMkLst>
        </pc:spChg>
        <pc:spChg chg="del mod ord">
          <ac:chgData name="Amandeep Singh (HCL TECHNOLOGIES LTD)" userId="192f9da3-bd5c-42c3-8f41-80b8549e6782" providerId="ADAL" clId="{F830C17E-9D64-4BEF-A194-2F47D1141FB7}" dt="2021-06-16T18:17:38.642" v="257" actId="700"/>
          <ac:spMkLst>
            <pc:docMk/>
            <pc:sldMk cId="4128801841" sldId="277"/>
            <ac:spMk id="3" creationId="{DEE5252E-5A43-4862-B024-4608FDFBF043}"/>
          </ac:spMkLst>
        </pc:spChg>
        <pc:spChg chg="add mod ord">
          <ac:chgData name="Amandeep Singh (HCL TECHNOLOGIES LTD)" userId="192f9da3-bd5c-42c3-8f41-80b8549e6782" providerId="ADAL" clId="{F830C17E-9D64-4BEF-A194-2F47D1141FB7}" dt="2021-06-16T18:22:26.654" v="265" actId="26606"/>
          <ac:spMkLst>
            <pc:docMk/>
            <pc:sldMk cId="4128801841" sldId="277"/>
            <ac:spMk id="4" creationId="{19AB4516-FD1F-4AD4-AA3A-9395F8B7A1F9}"/>
          </ac:spMkLst>
        </pc:spChg>
        <pc:spChg chg="add mod ord">
          <ac:chgData name="Amandeep Singh (HCL TECHNOLOGIES LTD)" userId="192f9da3-bd5c-42c3-8f41-80b8549e6782" providerId="ADAL" clId="{F830C17E-9D64-4BEF-A194-2F47D1141FB7}" dt="2021-06-16T18:22:26.654" v="265" actId="26606"/>
          <ac:spMkLst>
            <pc:docMk/>
            <pc:sldMk cId="4128801841" sldId="277"/>
            <ac:spMk id="5" creationId="{2888D0F9-982E-41FC-950B-A13CB0DBEF9C}"/>
          </ac:spMkLst>
        </pc:spChg>
        <pc:spChg chg="add">
          <ac:chgData name="Amandeep Singh (HCL TECHNOLOGIES LTD)" userId="192f9da3-bd5c-42c3-8f41-80b8549e6782" providerId="ADAL" clId="{F830C17E-9D64-4BEF-A194-2F47D1141FB7}" dt="2021-06-16T18:22:26.654" v="265" actId="26606"/>
          <ac:spMkLst>
            <pc:docMk/>
            <pc:sldMk cId="4128801841" sldId="277"/>
            <ac:spMk id="10" creationId="{6F5A5072-7B47-4D32-B52A-4EBBF590B8A5}"/>
          </ac:spMkLst>
        </pc:spChg>
        <pc:spChg chg="add">
          <ac:chgData name="Amandeep Singh (HCL TECHNOLOGIES LTD)" userId="192f9da3-bd5c-42c3-8f41-80b8549e6782" providerId="ADAL" clId="{F830C17E-9D64-4BEF-A194-2F47D1141FB7}" dt="2021-06-16T18:22:26.654" v="265" actId="26606"/>
          <ac:spMkLst>
            <pc:docMk/>
            <pc:sldMk cId="4128801841" sldId="277"/>
            <ac:spMk id="12" creationId="{9715DAF0-AE1B-46C9-8A6B-DB2AA05AB91D}"/>
          </ac:spMkLst>
        </pc:spChg>
        <pc:spChg chg="add">
          <ac:chgData name="Amandeep Singh (HCL TECHNOLOGIES LTD)" userId="192f9da3-bd5c-42c3-8f41-80b8549e6782" providerId="ADAL" clId="{F830C17E-9D64-4BEF-A194-2F47D1141FB7}" dt="2021-06-16T18:22:26.654" v="265" actId="26606"/>
          <ac:spMkLst>
            <pc:docMk/>
            <pc:sldMk cId="4128801841" sldId="277"/>
            <ac:spMk id="14" creationId="{6016219D-510E-4184-9090-6D5578A87BD1}"/>
          </ac:spMkLst>
        </pc:spChg>
        <pc:spChg chg="add">
          <ac:chgData name="Amandeep Singh (HCL TECHNOLOGIES LTD)" userId="192f9da3-bd5c-42c3-8f41-80b8549e6782" providerId="ADAL" clId="{F830C17E-9D64-4BEF-A194-2F47D1141FB7}" dt="2021-06-16T18:22:26.654" v="265" actId="26606"/>
          <ac:spMkLst>
            <pc:docMk/>
            <pc:sldMk cId="4128801841" sldId="277"/>
            <ac:spMk id="16" creationId="{AFF4A713-7B75-4B21-90D7-5AB19547C728}"/>
          </ac:spMkLst>
        </pc:spChg>
        <pc:spChg chg="add">
          <ac:chgData name="Amandeep Singh (HCL TECHNOLOGIES LTD)" userId="192f9da3-bd5c-42c3-8f41-80b8549e6782" providerId="ADAL" clId="{F830C17E-9D64-4BEF-A194-2F47D1141FB7}" dt="2021-06-16T18:22:26.654" v="265" actId="26606"/>
          <ac:spMkLst>
            <pc:docMk/>
            <pc:sldMk cId="4128801841" sldId="277"/>
            <ac:spMk id="18" creationId="{DC631C0B-6DA6-4E57-8231-CE32B3434A7E}"/>
          </ac:spMkLst>
        </pc:spChg>
        <pc:spChg chg="add">
          <ac:chgData name="Amandeep Singh (HCL TECHNOLOGIES LTD)" userId="192f9da3-bd5c-42c3-8f41-80b8549e6782" providerId="ADAL" clId="{F830C17E-9D64-4BEF-A194-2F47D1141FB7}" dt="2021-06-16T18:22:26.654" v="265" actId="26606"/>
          <ac:spMkLst>
            <pc:docMk/>
            <pc:sldMk cId="4128801841" sldId="277"/>
            <ac:spMk id="20" creationId="{C29501E6-A978-4A61-9689-9085AF97A53A}"/>
          </ac:spMkLst>
        </pc:spChg>
      </pc:sldChg>
    </pc:docChg>
  </pc:docChgLst>
  <pc:docChgLst>
    <pc:chgData name="Amandeep Singh" userId="192f9da3-bd5c-42c3-8f41-80b8549e6782" providerId="ADAL" clId="{C833812E-B2FB-499F-BE06-0746CC4CAFF0}"/>
    <pc:docChg chg="custSel addSld modSld">
      <pc:chgData name="Amandeep Singh" userId="192f9da3-bd5c-42c3-8f41-80b8549e6782" providerId="ADAL" clId="{C833812E-B2FB-499F-BE06-0746CC4CAFF0}" dt="2021-06-22T19:13:12.682" v="163" actId="14100"/>
      <pc:docMkLst>
        <pc:docMk/>
      </pc:docMkLst>
      <pc:sldChg chg="addSp delSp modSp new mod">
        <pc:chgData name="Amandeep Singh" userId="192f9da3-bd5c-42c3-8f41-80b8549e6782" providerId="ADAL" clId="{C833812E-B2FB-499F-BE06-0746CC4CAFF0}" dt="2021-06-22T16:33:18.784" v="29" actId="1076"/>
        <pc:sldMkLst>
          <pc:docMk/>
          <pc:sldMk cId="2816479591" sldId="286"/>
        </pc:sldMkLst>
        <pc:spChg chg="del">
          <ac:chgData name="Amandeep Singh" userId="192f9da3-bd5c-42c3-8f41-80b8549e6782" providerId="ADAL" clId="{C833812E-B2FB-499F-BE06-0746CC4CAFF0}" dt="2021-06-22T16:22:20.888" v="2" actId="478"/>
          <ac:spMkLst>
            <pc:docMk/>
            <pc:sldMk cId="2816479591" sldId="286"/>
            <ac:spMk id="2" creationId="{07950E76-64BA-414D-A6B9-73FFD45C3684}"/>
          </ac:spMkLst>
        </pc:spChg>
        <pc:spChg chg="del">
          <ac:chgData name="Amandeep Singh" userId="192f9da3-bd5c-42c3-8f41-80b8549e6782" providerId="ADAL" clId="{C833812E-B2FB-499F-BE06-0746CC4CAFF0}" dt="2021-06-22T16:22:19.567" v="1" actId="478"/>
          <ac:spMkLst>
            <pc:docMk/>
            <pc:sldMk cId="2816479591" sldId="286"/>
            <ac:spMk id="3" creationId="{11C77454-96B0-4AA9-8643-38DD7DAB7C18}"/>
          </ac:spMkLst>
        </pc:spChg>
        <pc:spChg chg="add mod">
          <ac:chgData name="Amandeep Singh" userId="192f9da3-bd5c-42c3-8f41-80b8549e6782" providerId="ADAL" clId="{C833812E-B2FB-499F-BE06-0746CC4CAFF0}" dt="2021-06-22T16:33:18.784" v="29" actId="1076"/>
          <ac:spMkLst>
            <pc:docMk/>
            <pc:sldMk cId="2816479591" sldId="286"/>
            <ac:spMk id="7" creationId="{10677996-ABB7-43CC-93B3-4251DC76A36E}"/>
          </ac:spMkLst>
        </pc:spChg>
        <pc:picChg chg="add mod">
          <ac:chgData name="Amandeep Singh" userId="192f9da3-bd5c-42c3-8f41-80b8549e6782" providerId="ADAL" clId="{C833812E-B2FB-499F-BE06-0746CC4CAFF0}" dt="2021-06-22T16:32:40.019" v="8" actId="1076"/>
          <ac:picMkLst>
            <pc:docMk/>
            <pc:sldMk cId="2816479591" sldId="286"/>
            <ac:picMk id="5" creationId="{8783B787-963D-4928-836B-C1FA73CC57A0}"/>
          </ac:picMkLst>
        </pc:picChg>
      </pc:sldChg>
      <pc:sldChg chg="addSp delSp modSp add mod">
        <pc:chgData name="Amandeep Singh" userId="192f9da3-bd5c-42c3-8f41-80b8549e6782" providerId="ADAL" clId="{C833812E-B2FB-499F-BE06-0746CC4CAFF0}" dt="2021-06-22T16:34:49.473" v="66" actId="6549"/>
        <pc:sldMkLst>
          <pc:docMk/>
          <pc:sldMk cId="4014865441" sldId="287"/>
        </pc:sldMkLst>
        <pc:spChg chg="mod">
          <ac:chgData name="Amandeep Singh" userId="192f9da3-bd5c-42c3-8f41-80b8549e6782" providerId="ADAL" clId="{C833812E-B2FB-499F-BE06-0746CC4CAFF0}" dt="2021-06-22T16:34:49.473" v="66" actId="6549"/>
          <ac:spMkLst>
            <pc:docMk/>
            <pc:sldMk cId="4014865441" sldId="287"/>
            <ac:spMk id="7" creationId="{10677996-ABB7-43CC-93B3-4251DC76A36E}"/>
          </ac:spMkLst>
        </pc:spChg>
        <pc:picChg chg="add mod">
          <ac:chgData name="Amandeep Singh" userId="192f9da3-bd5c-42c3-8f41-80b8549e6782" providerId="ADAL" clId="{C833812E-B2FB-499F-BE06-0746CC4CAFF0}" dt="2021-06-22T16:34:38.445" v="38" actId="14100"/>
          <ac:picMkLst>
            <pc:docMk/>
            <pc:sldMk cId="4014865441" sldId="287"/>
            <ac:picMk id="3" creationId="{3597F15F-A18E-4FB5-80A7-22AF556B8F5A}"/>
          </ac:picMkLst>
        </pc:picChg>
        <pc:picChg chg="del">
          <ac:chgData name="Amandeep Singh" userId="192f9da3-bd5c-42c3-8f41-80b8549e6782" providerId="ADAL" clId="{C833812E-B2FB-499F-BE06-0746CC4CAFF0}" dt="2021-06-22T16:34:20.313" v="31" actId="478"/>
          <ac:picMkLst>
            <pc:docMk/>
            <pc:sldMk cId="4014865441" sldId="287"/>
            <ac:picMk id="5" creationId="{8783B787-963D-4928-836B-C1FA73CC57A0}"/>
          </ac:picMkLst>
        </pc:picChg>
      </pc:sldChg>
      <pc:sldChg chg="addSp delSp modSp add mod">
        <pc:chgData name="Amandeep Singh" userId="192f9da3-bd5c-42c3-8f41-80b8549e6782" providerId="ADAL" clId="{C833812E-B2FB-499F-BE06-0746CC4CAFF0}" dt="2021-06-22T16:37:43.738" v="88" actId="14100"/>
        <pc:sldMkLst>
          <pc:docMk/>
          <pc:sldMk cId="2781272643" sldId="288"/>
        </pc:sldMkLst>
        <pc:spChg chg="mod">
          <ac:chgData name="Amandeep Singh" userId="192f9da3-bd5c-42c3-8f41-80b8549e6782" providerId="ADAL" clId="{C833812E-B2FB-499F-BE06-0746CC4CAFF0}" dt="2021-06-22T16:35:23.512" v="74" actId="20577"/>
          <ac:spMkLst>
            <pc:docMk/>
            <pc:sldMk cId="2781272643" sldId="288"/>
            <ac:spMk id="7" creationId="{10677996-ABB7-43CC-93B3-4251DC76A36E}"/>
          </ac:spMkLst>
        </pc:spChg>
        <pc:picChg chg="del">
          <ac:chgData name="Amandeep Singh" userId="192f9da3-bd5c-42c3-8f41-80b8549e6782" providerId="ADAL" clId="{C833812E-B2FB-499F-BE06-0746CC4CAFF0}" dt="2021-06-22T16:35:20.843" v="68" actId="478"/>
          <ac:picMkLst>
            <pc:docMk/>
            <pc:sldMk cId="2781272643" sldId="288"/>
            <ac:picMk id="3" creationId="{3597F15F-A18E-4FB5-80A7-22AF556B8F5A}"/>
          </ac:picMkLst>
        </pc:picChg>
        <pc:picChg chg="add del mod">
          <ac:chgData name="Amandeep Singh" userId="192f9da3-bd5c-42c3-8f41-80b8549e6782" providerId="ADAL" clId="{C833812E-B2FB-499F-BE06-0746CC4CAFF0}" dt="2021-06-22T16:36:39.962" v="81" actId="478"/>
          <ac:picMkLst>
            <pc:docMk/>
            <pc:sldMk cId="2781272643" sldId="288"/>
            <ac:picMk id="4" creationId="{F80CCDBA-AA3D-40E4-BBB8-EFBA336859F3}"/>
          </ac:picMkLst>
        </pc:picChg>
        <pc:picChg chg="add mod">
          <ac:chgData name="Amandeep Singh" userId="192f9da3-bd5c-42c3-8f41-80b8549e6782" providerId="ADAL" clId="{C833812E-B2FB-499F-BE06-0746CC4CAFF0}" dt="2021-06-22T16:37:43.738" v="88" actId="14100"/>
          <ac:picMkLst>
            <pc:docMk/>
            <pc:sldMk cId="2781272643" sldId="288"/>
            <ac:picMk id="6" creationId="{95EAB6F5-A64B-429F-8E65-C307E96C682A}"/>
          </ac:picMkLst>
        </pc:picChg>
      </pc:sldChg>
      <pc:sldChg chg="addSp delSp modSp add mod">
        <pc:chgData name="Amandeep Singh" userId="192f9da3-bd5c-42c3-8f41-80b8549e6782" providerId="ADAL" clId="{C833812E-B2FB-499F-BE06-0746CC4CAFF0}" dt="2021-06-22T17:43:40.884" v="132" actId="20577"/>
        <pc:sldMkLst>
          <pc:docMk/>
          <pc:sldMk cId="3568787720" sldId="289"/>
        </pc:sldMkLst>
        <pc:spChg chg="mod">
          <ac:chgData name="Amandeep Singh" userId="192f9da3-bd5c-42c3-8f41-80b8549e6782" providerId="ADAL" clId="{C833812E-B2FB-499F-BE06-0746CC4CAFF0}" dt="2021-06-22T17:43:40.884" v="132" actId="20577"/>
          <ac:spMkLst>
            <pc:docMk/>
            <pc:sldMk cId="3568787720" sldId="289"/>
            <ac:spMk id="7" creationId="{10677996-ABB7-43CC-93B3-4251DC76A36E}"/>
          </ac:spMkLst>
        </pc:spChg>
        <pc:picChg chg="add mod">
          <ac:chgData name="Amandeep Singh" userId="192f9da3-bd5c-42c3-8f41-80b8549e6782" providerId="ADAL" clId="{C833812E-B2FB-499F-BE06-0746CC4CAFF0}" dt="2021-06-22T17:42:51.970" v="98" actId="14100"/>
          <ac:picMkLst>
            <pc:docMk/>
            <pc:sldMk cId="3568787720" sldId="289"/>
            <ac:picMk id="3" creationId="{7628BBA4-2C58-4FFE-A409-E6B3D0640AD6}"/>
          </ac:picMkLst>
        </pc:picChg>
        <pc:picChg chg="del">
          <ac:chgData name="Amandeep Singh" userId="192f9da3-bd5c-42c3-8f41-80b8549e6782" providerId="ADAL" clId="{C833812E-B2FB-499F-BE06-0746CC4CAFF0}" dt="2021-06-22T17:42:31.106" v="90" actId="478"/>
          <ac:picMkLst>
            <pc:docMk/>
            <pc:sldMk cId="3568787720" sldId="289"/>
            <ac:picMk id="6" creationId="{95EAB6F5-A64B-429F-8E65-C307E96C682A}"/>
          </ac:picMkLst>
        </pc:picChg>
      </pc:sldChg>
      <pc:sldChg chg="addSp delSp modSp add mod">
        <pc:chgData name="Amandeep Singh" userId="192f9da3-bd5c-42c3-8f41-80b8549e6782" providerId="ADAL" clId="{C833812E-B2FB-499F-BE06-0746CC4CAFF0}" dt="2021-06-22T19:13:12.682" v="163" actId="14100"/>
        <pc:sldMkLst>
          <pc:docMk/>
          <pc:sldMk cId="4064043087" sldId="290"/>
        </pc:sldMkLst>
        <pc:spChg chg="mod">
          <ac:chgData name="Amandeep Singh" userId="192f9da3-bd5c-42c3-8f41-80b8549e6782" providerId="ADAL" clId="{C833812E-B2FB-499F-BE06-0746CC4CAFF0}" dt="2021-06-22T19:06:50.637" v="145" actId="962"/>
          <ac:spMkLst>
            <pc:docMk/>
            <pc:sldMk cId="4064043087" sldId="290"/>
            <ac:spMk id="7" creationId="{10677996-ABB7-43CC-93B3-4251DC76A36E}"/>
          </ac:spMkLst>
        </pc:spChg>
        <pc:picChg chg="del">
          <ac:chgData name="Amandeep Singh" userId="192f9da3-bd5c-42c3-8f41-80b8549e6782" providerId="ADAL" clId="{C833812E-B2FB-499F-BE06-0746CC4CAFF0}" dt="2021-06-22T19:06:33.508" v="134" actId="478"/>
          <ac:picMkLst>
            <pc:docMk/>
            <pc:sldMk cId="4064043087" sldId="290"/>
            <ac:picMk id="3" creationId="{7628BBA4-2C58-4FFE-A409-E6B3D0640AD6}"/>
          </ac:picMkLst>
        </pc:picChg>
        <pc:picChg chg="add del mod">
          <ac:chgData name="Amandeep Singh" userId="192f9da3-bd5c-42c3-8f41-80b8549e6782" providerId="ADAL" clId="{C833812E-B2FB-499F-BE06-0746CC4CAFF0}" dt="2021-06-22T19:08:13.684" v="152" actId="478"/>
          <ac:picMkLst>
            <pc:docMk/>
            <pc:sldMk cId="4064043087" sldId="290"/>
            <ac:picMk id="4" creationId="{8C4F096A-F3F0-4496-BC57-46FBD43EBFD1}"/>
          </ac:picMkLst>
        </pc:picChg>
        <pc:picChg chg="add mod">
          <ac:chgData name="Amandeep Singh" userId="192f9da3-bd5c-42c3-8f41-80b8549e6782" providerId="ADAL" clId="{C833812E-B2FB-499F-BE06-0746CC4CAFF0}" dt="2021-06-22T19:13:12.682" v="163" actId="14100"/>
          <ac:picMkLst>
            <pc:docMk/>
            <pc:sldMk cId="4064043087" sldId="290"/>
            <ac:picMk id="6" creationId="{8F907551-2BED-47CB-B4DE-7579B50F97B7}"/>
          </ac:picMkLst>
        </pc:picChg>
      </pc:sldChg>
    </pc:docChg>
  </pc:docChgLst>
  <pc:docChgLst>
    <pc:chgData name="Amandeep Singh" userId="192f9da3-bd5c-42c3-8f41-80b8549e6782" providerId="ADAL" clId="{446EA5A1-8936-4500-BBD5-2705C1BEBC2C}"/>
    <pc:docChg chg="undo custSel delSld modSld">
      <pc:chgData name="Amandeep Singh" userId="192f9da3-bd5c-42c3-8f41-80b8549e6782" providerId="ADAL" clId="{446EA5A1-8936-4500-BBD5-2705C1BEBC2C}" dt="2021-07-15T22:04:16.228" v="161" actId="14100"/>
      <pc:docMkLst>
        <pc:docMk/>
      </pc:docMkLst>
      <pc:sldChg chg="addSp delSp modSp mod">
        <pc:chgData name="Amandeep Singh" userId="192f9da3-bd5c-42c3-8f41-80b8549e6782" providerId="ADAL" clId="{446EA5A1-8936-4500-BBD5-2705C1BEBC2C}" dt="2021-07-15T21:56:59.736" v="103" actId="14100"/>
        <pc:sldMkLst>
          <pc:docMk/>
          <pc:sldMk cId="2584029683" sldId="257"/>
        </pc:sldMkLst>
        <pc:spChg chg="mod">
          <ac:chgData name="Amandeep Singh" userId="192f9da3-bd5c-42c3-8f41-80b8549e6782" providerId="ADAL" clId="{446EA5A1-8936-4500-BBD5-2705C1BEBC2C}" dt="2021-07-15T21:53:11.428" v="60"/>
          <ac:spMkLst>
            <pc:docMk/>
            <pc:sldMk cId="2584029683" sldId="257"/>
            <ac:spMk id="32" creationId="{595F3599-90BF-46B4-8F7D-111EA3AE91A0}"/>
          </ac:spMkLst>
        </pc:spChg>
        <pc:spChg chg="mod">
          <ac:chgData name="Amandeep Singh" userId="192f9da3-bd5c-42c3-8f41-80b8549e6782" providerId="ADAL" clId="{446EA5A1-8936-4500-BBD5-2705C1BEBC2C}" dt="2021-07-15T21:53:11.428" v="60"/>
          <ac:spMkLst>
            <pc:docMk/>
            <pc:sldMk cId="2584029683" sldId="257"/>
            <ac:spMk id="33" creationId="{9CB4F74B-09A1-470A-8100-29DE25B02EC9}"/>
          </ac:spMkLst>
        </pc:spChg>
        <pc:spChg chg="mod">
          <ac:chgData name="Amandeep Singh" userId="192f9da3-bd5c-42c3-8f41-80b8549e6782" providerId="ADAL" clId="{446EA5A1-8936-4500-BBD5-2705C1BEBC2C}" dt="2021-07-15T21:53:39.523" v="68" actId="108"/>
          <ac:spMkLst>
            <pc:docMk/>
            <pc:sldMk cId="2584029683" sldId="257"/>
            <ac:spMk id="34" creationId="{E58407A2-45A8-4B5C-8BEF-653BE93D35D6}"/>
          </ac:spMkLst>
        </pc:spChg>
        <pc:spChg chg="mod">
          <ac:chgData name="Amandeep Singh" userId="192f9da3-bd5c-42c3-8f41-80b8549e6782" providerId="ADAL" clId="{446EA5A1-8936-4500-BBD5-2705C1BEBC2C}" dt="2021-07-15T21:53:11.428" v="60"/>
          <ac:spMkLst>
            <pc:docMk/>
            <pc:sldMk cId="2584029683" sldId="257"/>
            <ac:spMk id="36" creationId="{7EF268BC-9566-41FE-8C3E-B141E9C4F55A}"/>
          </ac:spMkLst>
        </pc:spChg>
        <pc:spChg chg="mod">
          <ac:chgData name="Amandeep Singh" userId="192f9da3-bd5c-42c3-8f41-80b8549e6782" providerId="ADAL" clId="{446EA5A1-8936-4500-BBD5-2705C1BEBC2C}" dt="2021-07-15T21:53:55.020" v="70" actId="14100"/>
          <ac:spMkLst>
            <pc:docMk/>
            <pc:sldMk cId="2584029683" sldId="257"/>
            <ac:spMk id="37" creationId="{C1B9BF59-FD78-4598-AEEA-8D4C555B37D4}"/>
          </ac:spMkLst>
        </pc:spChg>
        <pc:spChg chg="mod">
          <ac:chgData name="Amandeep Singh" userId="192f9da3-bd5c-42c3-8f41-80b8549e6782" providerId="ADAL" clId="{446EA5A1-8936-4500-BBD5-2705C1BEBC2C}" dt="2021-07-15T21:53:11.428" v="60"/>
          <ac:spMkLst>
            <pc:docMk/>
            <pc:sldMk cId="2584029683" sldId="257"/>
            <ac:spMk id="38" creationId="{80401023-88CC-409A-B44D-BE4F7C7093C6}"/>
          </ac:spMkLst>
        </pc:spChg>
        <pc:spChg chg="mod">
          <ac:chgData name="Amandeep Singh" userId="192f9da3-bd5c-42c3-8f41-80b8549e6782" providerId="ADAL" clId="{446EA5A1-8936-4500-BBD5-2705C1BEBC2C}" dt="2021-07-15T21:53:11.428" v="60"/>
          <ac:spMkLst>
            <pc:docMk/>
            <pc:sldMk cId="2584029683" sldId="257"/>
            <ac:spMk id="39" creationId="{8A04A439-2D0C-4545-A848-5DFEC279CF19}"/>
          </ac:spMkLst>
        </pc:spChg>
        <pc:spChg chg="mod">
          <ac:chgData name="Amandeep Singh" userId="192f9da3-bd5c-42c3-8f41-80b8549e6782" providerId="ADAL" clId="{446EA5A1-8936-4500-BBD5-2705C1BEBC2C}" dt="2021-07-15T21:54:03.554" v="71" actId="14100"/>
          <ac:spMkLst>
            <pc:docMk/>
            <pc:sldMk cId="2584029683" sldId="257"/>
            <ac:spMk id="40" creationId="{486C76F6-C1A7-4D7D-95E6-63DA31066605}"/>
          </ac:spMkLst>
        </pc:spChg>
        <pc:spChg chg="mod">
          <ac:chgData name="Amandeep Singh" userId="192f9da3-bd5c-42c3-8f41-80b8549e6782" providerId="ADAL" clId="{446EA5A1-8936-4500-BBD5-2705C1BEBC2C}" dt="2021-07-15T21:53:45.731" v="69" actId="108"/>
          <ac:spMkLst>
            <pc:docMk/>
            <pc:sldMk cId="2584029683" sldId="257"/>
            <ac:spMk id="41" creationId="{C9822E3C-AADA-45AA-A34C-7DD144B4E0B2}"/>
          </ac:spMkLst>
        </pc:spChg>
        <pc:spChg chg="mod">
          <ac:chgData name="Amandeep Singh" userId="192f9da3-bd5c-42c3-8f41-80b8549e6782" providerId="ADAL" clId="{446EA5A1-8936-4500-BBD5-2705C1BEBC2C}" dt="2021-07-15T21:53:11.428" v="60"/>
          <ac:spMkLst>
            <pc:docMk/>
            <pc:sldMk cId="2584029683" sldId="257"/>
            <ac:spMk id="42" creationId="{1C15966E-B361-4CC9-B49A-37DB3355AACC}"/>
          </ac:spMkLst>
        </pc:spChg>
        <pc:spChg chg="mod">
          <ac:chgData name="Amandeep Singh" userId="192f9da3-bd5c-42c3-8f41-80b8549e6782" providerId="ADAL" clId="{446EA5A1-8936-4500-BBD5-2705C1BEBC2C}" dt="2021-07-15T21:54:36.453" v="75" actId="1076"/>
          <ac:spMkLst>
            <pc:docMk/>
            <pc:sldMk cId="2584029683" sldId="257"/>
            <ac:spMk id="43" creationId="{1E25EF67-D6D3-46F7-958B-56D2577FB4F7}"/>
          </ac:spMkLst>
        </pc:spChg>
        <pc:spChg chg="mod">
          <ac:chgData name="Amandeep Singh" userId="192f9da3-bd5c-42c3-8f41-80b8549e6782" providerId="ADAL" clId="{446EA5A1-8936-4500-BBD5-2705C1BEBC2C}" dt="2021-07-15T21:54:28.807" v="74" actId="1076"/>
          <ac:spMkLst>
            <pc:docMk/>
            <pc:sldMk cId="2584029683" sldId="257"/>
            <ac:spMk id="44" creationId="{ADA69447-E5D3-4FEB-9EE5-878D14C49CFC}"/>
          </ac:spMkLst>
        </pc:spChg>
        <pc:spChg chg="mod">
          <ac:chgData name="Amandeep Singh" userId="192f9da3-bd5c-42c3-8f41-80b8549e6782" providerId="ADAL" clId="{446EA5A1-8936-4500-BBD5-2705C1BEBC2C}" dt="2021-07-15T21:54:23.551" v="73" actId="14100"/>
          <ac:spMkLst>
            <pc:docMk/>
            <pc:sldMk cId="2584029683" sldId="257"/>
            <ac:spMk id="45" creationId="{EC989EF8-552D-4B10-8FA9-0E9597B7A728}"/>
          </ac:spMkLst>
        </pc:spChg>
        <pc:spChg chg="mod">
          <ac:chgData name="Amandeep Singh" userId="192f9da3-bd5c-42c3-8f41-80b8549e6782" providerId="ADAL" clId="{446EA5A1-8936-4500-BBD5-2705C1BEBC2C}" dt="2021-07-15T21:56:59.736" v="103" actId="14100"/>
          <ac:spMkLst>
            <pc:docMk/>
            <pc:sldMk cId="2584029683" sldId="257"/>
            <ac:spMk id="46" creationId="{E116A2D6-F9A6-4FD5-A6C2-26F6BCBE6D52}"/>
          </ac:spMkLst>
        </pc:spChg>
        <pc:spChg chg="mod">
          <ac:chgData name="Amandeep Singh" userId="192f9da3-bd5c-42c3-8f41-80b8549e6782" providerId="ADAL" clId="{446EA5A1-8936-4500-BBD5-2705C1BEBC2C}" dt="2021-07-15T21:54:38.972" v="76" actId="1076"/>
          <ac:spMkLst>
            <pc:docMk/>
            <pc:sldMk cId="2584029683" sldId="257"/>
            <ac:spMk id="53" creationId="{A52A371E-3788-419D-8647-3A64F020551C}"/>
          </ac:spMkLst>
        </pc:spChg>
        <pc:grpChg chg="del">
          <ac:chgData name="Amandeep Singh" userId="192f9da3-bd5c-42c3-8f41-80b8549e6782" providerId="ADAL" clId="{446EA5A1-8936-4500-BBD5-2705C1BEBC2C}" dt="2021-07-15T21:52:58.341" v="59" actId="478"/>
          <ac:grpSpMkLst>
            <pc:docMk/>
            <pc:sldMk cId="2584029683" sldId="257"/>
            <ac:grpSpMk id="20" creationId="{ECDD144E-41BC-4488-A602-AC1B6ECC6F48}"/>
          </ac:grpSpMkLst>
        </pc:grpChg>
        <pc:grpChg chg="add mod">
          <ac:chgData name="Amandeep Singh" userId="192f9da3-bd5c-42c3-8f41-80b8549e6782" providerId="ADAL" clId="{446EA5A1-8936-4500-BBD5-2705C1BEBC2C}" dt="2021-07-15T21:53:33.520" v="66" actId="14100"/>
          <ac:grpSpMkLst>
            <pc:docMk/>
            <pc:sldMk cId="2584029683" sldId="257"/>
            <ac:grpSpMk id="30" creationId="{C91A2870-7D5F-46F3-995C-2F41CCC732EB}"/>
          </ac:grpSpMkLst>
        </pc:grpChg>
        <pc:graphicFrameChg chg="mod modGraphic">
          <ac:chgData name="Amandeep Singh" userId="192f9da3-bd5c-42c3-8f41-80b8549e6782" providerId="ADAL" clId="{446EA5A1-8936-4500-BBD5-2705C1BEBC2C}" dt="2021-07-15T21:53:28.086" v="64" actId="14100"/>
          <ac:graphicFrameMkLst>
            <pc:docMk/>
            <pc:sldMk cId="2584029683" sldId="257"/>
            <ac:graphicFrameMk id="35" creationId="{8ED9BE5A-E89B-43D7-B6FE-223D219DC8AD}"/>
          </ac:graphicFrameMkLst>
        </pc:graphicFrameChg>
        <pc:inkChg chg="mod">
          <ac:chgData name="Amandeep Singh" userId="192f9da3-bd5c-42c3-8f41-80b8549e6782" providerId="ADAL" clId="{446EA5A1-8936-4500-BBD5-2705C1BEBC2C}" dt="2021-07-15T21:53:11.428" v="60"/>
          <ac:inkMkLst>
            <pc:docMk/>
            <pc:sldMk cId="2584029683" sldId="257"/>
            <ac:inkMk id="31" creationId="{D36555DA-F7FB-44E3-9599-117AC094D31F}"/>
          </ac:inkMkLst>
        </pc:inkChg>
      </pc:sldChg>
      <pc:sldChg chg="addSp delSp modSp mod">
        <pc:chgData name="Amandeep Singh" userId="192f9da3-bd5c-42c3-8f41-80b8549e6782" providerId="ADAL" clId="{446EA5A1-8936-4500-BBD5-2705C1BEBC2C}" dt="2021-07-15T21:56:54.611" v="102" actId="14100"/>
        <pc:sldMkLst>
          <pc:docMk/>
          <pc:sldMk cId="801181363" sldId="265"/>
        </pc:sldMkLst>
        <pc:spChg chg="mod">
          <ac:chgData name="Amandeep Singh" userId="192f9da3-bd5c-42c3-8f41-80b8549e6782" providerId="ADAL" clId="{446EA5A1-8936-4500-BBD5-2705C1BEBC2C}" dt="2021-07-15T21:55:18.415" v="83" actId="6549"/>
          <ac:spMkLst>
            <pc:docMk/>
            <pc:sldMk cId="801181363" sldId="265"/>
            <ac:spMk id="27" creationId="{E93D4BA0-7C54-457D-813D-A30255723D14}"/>
          </ac:spMkLst>
        </pc:spChg>
        <pc:spChg chg="mod">
          <ac:chgData name="Amandeep Singh" userId="192f9da3-bd5c-42c3-8f41-80b8549e6782" providerId="ADAL" clId="{446EA5A1-8936-4500-BBD5-2705C1BEBC2C}" dt="2021-07-15T21:55:27.311" v="85"/>
          <ac:spMkLst>
            <pc:docMk/>
            <pc:sldMk cId="801181363" sldId="265"/>
            <ac:spMk id="33" creationId="{B5AF1145-1A87-47EB-B89A-C83AF2EDECB5}"/>
          </ac:spMkLst>
        </pc:spChg>
        <pc:spChg chg="mod">
          <ac:chgData name="Amandeep Singh" userId="192f9da3-bd5c-42c3-8f41-80b8549e6782" providerId="ADAL" clId="{446EA5A1-8936-4500-BBD5-2705C1BEBC2C}" dt="2021-07-15T21:55:27.311" v="85"/>
          <ac:spMkLst>
            <pc:docMk/>
            <pc:sldMk cId="801181363" sldId="265"/>
            <ac:spMk id="34" creationId="{73D1F61F-1E18-4455-8753-8D5323EECB5C}"/>
          </ac:spMkLst>
        </pc:spChg>
        <pc:spChg chg="mod">
          <ac:chgData name="Amandeep Singh" userId="192f9da3-bd5c-42c3-8f41-80b8549e6782" providerId="ADAL" clId="{446EA5A1-8936-4500-BBD5-2705C1BEBC2C}" dt="2021-07-15T21:55:27.311" v="85"/>
          <ac:spMkLst>
            <pc:docMk/>
            <pc:sldMk cId="801181363" sldId="265"/>
            <ac:spMk id="36" creationId="{5A7EFA07-57EC-4064-9ED9-C92240A91375}"/>
          </ac:spMkLst>
        </pc:spChg>
        <pc:spChg chg="mod">
          <ac:chgData name="Amandeep Singh" userId="192f9da3-bd5c-42c3-8f41-80b8549e6782" providerId="ADAL" clId="{446EA5A1-8936-4500-BBD5-2705C1BEBC2C}" dt="2021-07-15T21:55:47.316" v="91" actId="1076"/>
          <ac:spMkLst>
            <pc:docMk/>
            <pc:sldMk cId="801181363" sldId="265"/>
            <ac:spMk id="37" creationId="{C1B9BF59-FD78-4598-AEEA-8D4C555B37D4}"/>
          </ac:spMkLst>
        </pc:spChg>
        <pc:spChg chg="mod">
          <ac:chgData name="Amandeep Singh" userId="192f9da3-bd5c-42c3-8f41-80b8549e6782" providerId="ADAL" clId="{446EA5A1-8936-4500-BBD5-2705C1BEBC2C}" dt="2021-07-15T21:55:27.311" v="85"/>
          <ac:spMkLst>
            <pc:docMk/>
            <pc:sldMk cId="801181363" sldId="265"/>
            <ac:spMk id="38" creationId="{8C29170D-B288-412A-9B9D-14EE8829A7D6}"/>
          </ac:spMkLst>
        </pc:spChg>
        <pc:spChg chg="mod">
          <ac:chgData name="Amandeep Singh" userId="192f9da3-bd5c-42c3-8f41-80b8549e6782" providerId="ADAL" clId="{446EA5A1-8936-4500-BBD5-2705C1BEBC2C}" dt="2021-07-15T21:55:27.311" v="85"/>
          <ac:spMkLst>
            <pc:docMk/>
            <pc:sldMk cId="801181363" sldId="265"/>
            <ac:spMk id="39" creationId="{A562BD0E-B675-404A-8187-206774A8032A}"/>
          </ac:spMkLst>
        </pc:spChg>
        <pc:spChg chg="mod">
          <ac:chgData name="Amandeep Singh" userId="192f9da3-bd5c-42c3-8f41-80b8549e6782" providerId="ADAL" clId="{446EA5A1-8936-4500-BBD5-2705C1BEBC2C}" dt="2021-07-15T21:55:27.311" v="85"/>
          <ac:spMkLst>
            <pc:docMk/>
            <pc:sldMk cId="801181363" sldId="265"/>
            <ac:spMk id="40" creationId="{0E87CED3-81FF-4FBC-A395-10A919CDCFAE}"/>
          </ac:spMkLst>
        </pc:spChg>
        <pc:spChg chg="mod">
          <ac:chgData name="Amandeep Singh" userId="192f9da3-bd5c-42c3-8f41-80b8549e6782" providerId="ADAL" clId="{446EA5A1-8936-4500-BBD5-2705C1BEBC2C}" dt="2021-07-15T21:55:27.311" v="85"/>
          <ac:spMkLst>
            <pc:docMk/>
            <pc:sldMk cId="801181363" sldId="265"/>
            <ac:spMk id="41" creationId="{35BEF3EF-3615-450D-AAA2-813AA6A0AD5A}"/>
          </ac:spMkLst>
        </pc:spChg>
        <pc:spChg chg="mod">
          <ac:chgData name="Amandeep Singh" userId="192f9da3-bd5c-42c3-8f41-80b8549e6782" providerId="ADAL" clId="{446EA5A1-8936-4500-BBD5-2705C1BEBC2C}" dt="2021-07-15T21:55:27.311" v="85"/>
          <ac:spMkLst>
            <pc:docMk/>
            <pc:sldMk cId="801181363" sldId="265"/>
            <ac:spMk id="42" creationId="{E4275637-E846-4C2E-9E6E-3F6C27452700}"/>
          </ac:spMkLst>
        </pc:spChg>
        <pc:spChg chg="mod">
          <ac:chgData name="Amandeep Singh" userId="192f9da3-bd5c-42c3-8f41-80b8549e6782" providerId="ADAL" clId="{446EA5A1-8936-4500-BBD5-2705C1BEBC2C}" dt="2021-07-15T21:55:27.311" v="85"/>
          <ac:spMkLst>
            <pc:docMk/>
            <pc:sldMk cId="801181363" sldId="265"/>
            <ac:spMk id="43" creationId="{28EEC369-BD63-4B23-B023-A4B4C3070100}"/>
          </ac:spMkLst>
        </pc:spChg>
        <pc:spChg chg="mod">
          <ac:chgData name="Amandeep Singh" userId="192f9da3-bd5c-42c3-8f41-80b8549e6782" providerId="ADAL" clId="{446EA5A1-8936-4500-BBD5-2705C1BEBC2C}" dt="2021-07-15T21:55:27.311" v="85"/>
          <ac:spMkLst>
            <pc:docMk/>
            <pc:sldMk cId="801181363" sldId="265"/>
            <ac:spMk id="44" creationId="{4E689C83-4234-48DE-B2FE-4BF5126A8970}"/>
          </ac:spMkLst>
        </pc:spChg>
        <pc:spChg chg="mod">
          <ac:chgData name="Amandeep Singh" userId="192f9da3-bd5c-42c3-8f41-80b8549e6782" providerId="ADAL" clId="{446EA5A1-8936-4500-BBD5-2705C1BEBC2C}" dt="2021-07-15T21:55:27.311" v="85"/>
          <ac:spMkLst>
            <pc:docMk/>
            <pc:sldMk cId="801181363" sldId="265"/>
            <ac:spMk id="45" creationId="{23ABB4C8-BD59-4C74-9830-50345416828F}"/>
          </ac:spMkLst>
        </pc:spChg>
        <pc:spChg chg="mod">
          <ac:chgData name="Amandeep Singh" userId="192f9da3-bd5c-42c3-8f41-80b8549e6782" providerId="ADAL" clId="{446EA5A1-8936-4500-BBD5-2705C1BEBC2C}" dt="2021-07-15T21:55:27.311" v="85"/>
          <ac:spMkLst>
            <pc:docMk/>
            <pc:sldMk cId="801181363" sldId="265"/>
            <ac:spMk id="46" creationId="{87FD315F-1D08-4A98-B598-F7D7D37FBD1F}"/>
          </ac:spMkLst>
        </pc:spChg>
        <pc:spChg chg="mod">
          <ac:chgData name="Amandeep Singh" userId="192f9da3-bd5c-42c3-8f41-80b8549e6782" providerId="ADAL" clId="{446EA5A1-8936-4500-BBD5-2705C1BEBC2C}" dt="2021-07-15T21:56:54.611" v="102" actId="14100"/>
          <ac:spMkLst>
            <pc:docMk/>
            <pc:sldMk cId="801181363" sldId="265"/>
            <ac:spMk id="47" creationId="{925B34B2-1858-427C-9EDA-0D5EB6A3F357}"/>
          </ac:spMkLst>
        </pc:spChg>
        <pc:spChg chg="mod">
          <ac:chgData name="Amandeep Singh" userId="192f9da3-bd5c-42c3-8f41-80b8549e6782" providerId="ADAL" clId="{446EA5A1-8936-4500-BBD5-2705C1BEBC2C}" dt="2021-07-15T21:55:27.311" v="85"/>
          <ac:spMkLst>
            <pc:docMk/>
            <pc:sldMk cId="801181363" sldId="265"/>
            <ac:spMk id="53" creationId="{BDD05A90-CC09-4AE3-B50A-5526E16EB77B}"/>
          </ac:spMkLst>
        </pc:spChg>
        <pc:grpChg chg="del">
          <ac:chgData name="Amandeep Singh" userId="192f9da3-bd5c-42c3-8f41-80b8549e6782" providerId="ADAL" clId="{446EA5A1-8936-4500-BBD5-2705C1BEBC2C}" dt="2021-07-15T21:55:21.247" v="84" actId="478"/>
          <ac:grpSpMkLst>
            <pc:docMk/>
            <pc:sldMk cId="801181363" sldId="265"/>
            <ac:grpSpMk id="20" creationId="{511B2E6E-F876-4DD7-97D6-5D71DB7CFA09}"/>
          </ac:grpSpMkLst>
        </pc:grpChg>
        <pc:grpChg chg="add mod">
          <ac:chgData name="Amandeep Singh" userId="192f9da3-bd5c-42c3-8f41-80b8549e6782" providerId="ADAL" clId="{446EA5A1-8936-4500-BBD5-2705C1BEBC2C}" dt="2021-07-15T21:55:50.576" v="92" actId="14100"/>
          <ac:grpSpMkLst>
            <pc:docMk/>
            <pc:sldMk cId="801181363" sldId="265"/>
            <ac:grpSpMk id="31" creationId="{E454D88A-E158-4E76-B8B6-01BCA6369C77}"/>
          </ac:grpSpMkLst>
        </pc:grpChg>
        <pc:graphicFrameChg chg="mod modGraphic">
          <ac:chgData name="Amandeep Singh" userId="192f9da3-bd5c-42c3-8f41-80b8549e6782" providerId="ADAL" clId="{446EA5A1-8936-4500-BBD5-2705C1BEBC2C}" dt="2021-07-15T21:55:44.743" v="89" actId="14100"/>
          <ac:graphicFrameMkLst>
            <pc:docMk/>
            <pc:sldMk cId="801181363" sldId="265"/>
            <ac:graphicFrameMk id="35" creationId="{8ED9BE5A-E89B-43D7-B6FE-223D219DC8AD}"/>
          </ac:graphicFrameMkLst>
        </pc:graphicFrameChg>
        <pc:inkChg chg="mod">
          <ac:chgData name="Amandeep Singh" userId="192f9da3-bd5c-42c3-8f41-80b8549e6782" providerId="ADAL" clId="{446EA5A1-8936-4500-BBD5-2705C1BEBC2C}" dt="2021-07-15T21:55:27.311" v="85"/>
          <ac:inkMkLst>
            <pc:docMk/>
            <pc:sldMk cId="801181363" sldId="265"/>
            <ac:inkMk id="32" creationId="{602024BA-A542-4010-8036-D1C934CCFE28}"/>
          </ac:inkMkLst>
        </pc:inkChg>
      </pc:sldChg>
      <pc:sldChg chg="addSp delSp modSp mod">
        <pc:chgData name="Amandeep Singh" userId="192f9da3-bd5c-42c3-8f41-80b8549e6782" providerId="ADAL" clId="{446EA5A1-8936-4500-BBD5-2705C1BEBC2C}" dt="2021-07-15T21:56:41.740" v="101" actId="14100"/>
        <pc:sldMkLst>
          <pc:docMk/>
          <pc:sldMk cId="1984782908" sldId="266"/>
        </pc:sldMkLst>
        <pc:spChg chg="mod">
          <ac:chgData name="Amandeep Singh" userId="192f9da3-bd5c-42c3-8f41-80b8549e6782" providerId="ADAL" clId="{446EA5A1-8936-4500-BBD5-2705C1BEBC2C}" dt="2021-07-15T21:56:09.981" v="94"/>
          <ac:spMkLst>
            <pc:docMk/>
            <pc:sldMk cId="1984782908" sldId="266"/>
            <ac:spMk id="23" creationId="{797C1473-A3B0-4A61-8868-63F474562E34}"/>
          </ac:spMkLst>
        </pc:spChg>
        <pc:spChg chg="mod">
          <ac:chgData name="Amandeep Singh" userId="192f9da3-bd5c-42c3-8f41-80b8549e6782" providerId="ADAL" clId="{446EA5A1-8936-4500-BBD5-2705C1BEBC2C}" dt="2021-07-15T21:56:09.981" v="94"/>
          <ac:spMkLst>
            <pc:docMk/>
            <pc:sldMk cId="1984782908" sldId="266"/>
            <ac:spMk id="24" creationId="{25F5CBC3-EE41-4896-9DA3-8DFF68D30873}"/>
          </ac:spMkLst>
        </pc:spChg>
        <pc:spChg chg="mod">
          <ac:chgData name="Amandeep Singh" userId="192f9da3-bd5c-42c3-8f41-80b8549e6782" providerId="ADAL" clId="{446EA5A1-8936-4500-BBD5-2705C1BEBC2C}" dt="2021-07-15T21:56:25.936" v="98" actId="108"/>
          <ac:spMkLst>
            <pc:docMk/>
            <pc:sldMk cId="1984782908" sldId="266"/>
            <ac:spMk id="25" creationId="{C6C9130E-9A46-4B5E-A32D-3AC3D4EB403C}"/>
          </ac:spMkLst>
        </pc:spChg>
        <pc:spChg chg="mod">
          <ac:chgData name="Amandeep Singh" userId="192f9da3-bd5c-42c3-8f41-80b8549e6782" providerId="ADAL" clId="{446EA5A1-8936-4500-BBD5-2705C1BEBC2C}" dt="2021-07-15T21:56:23.052" v="97" actId="108"/>
          <ac:spMkLst>
            <pc:docMk/>
            <pc:sldMk cId="1984782908" sldId="266"/>
            <ac:spMk id="26" creationId="{937ADF3D-5CA3-4737-9BEE-6BE37BC549D5}"/>
          </ac:spMkLst>
        </pc:spChg>
        <pc:spChg chg="mod">
          <ac:chgData name="Amandeep Singh" userId="192f9da3-bd5c-42c3-8f41-80b8549e6782" providerId="ADAL" clId="{446EA5A1-8936-4500-BBD5-2705C1BEBC2C}" dt="2021-07-15T21:56:09.981" v="94"/>
          <ac:spMkLst>
            <pc:docMk/>
            <pc:sldMk cId="1984782908" sldId="266"/>
            <ac:spMk id="27" creationId="{11B60B04-67A8-4088-9E44-55EC1063BE3F}"/>
          </ac:spMkLst>
        </pc:spChg>
        <pc:spChg chg="mod">
          <ac:chgData name="Amandeep Singh" userId="192f9da3-bd5c-42c3-8f41-80b8549e6782" providerId="ADAL" clId="{446EA5A1-8936-4500-BBD5-2705C1BEBC2C}" dt="2021-07-15T21:56:09.981" v="94"/>
          <ac:spMkLst>
            <pc:docMk/>
            <pc:sldMk cId="1984782908" sldId="266"/>
            <ac:spMk id="28" creationId="{5005C64A-5552-4550-A14A-3A6930DB6249}"/>
          </ac:spMkLst>
        </pc:spChg>
        <pc:spChg chg="mod">
          <ac:chgData name="Amandeep Singh" userId="192f9da3-bd5c-42c3-8f41-80b8549e6782" providerId="ADAL" clId="{446EA5A1-8936-4500-BBD5-2705C1BEBC2C}" dt="2021-07-15T21:56:09.981" v="94"/>
          <ac:spMkLst>
            <pc:docMk/>
            <pc:sldMk cId="1984782908" sldId="266"/>
            <ac:spMk id="29" creationId="{6C2E91DE-C411-4199-8C90-10FDB1EAD015}"/>
          </ac:spMkLst>
        </pc:spChg>
        <pc:spChg chg="mod">
          <ac:chgData name="Amandeep Singh" userId="192f9da3-bd5c-42c3-8f41-80b8549e6782" providerId="ADAL" clId="{446EA5A1-8936-4500-BBD5-2705C1BEBC2C}" dt="2021-07-15T21:56:09.981" v="94"/>
          <ac:spMkLst>
            <pc:docMk/>
            <pc:sldMk cId="1984782908" sldId="266"/>
            <ac:spMk id="30" creationId="{46DAE90A-27A4-4010-8177-DD1BCC94B05A}"/>
          </ac:spMkLst>
        </pc:spChg>
        <pc:spChg chg="mod">
          <ac:chgData name="Amandeep Singh" userId="192f9da3-bd5c-42c3-8f41-80b8549e6782" providerId="ADAL" clId="{446EA5A1-8936-4500-BBD5-2705C1BEBC2C}" dt="2021-07-15T21:56:09.981" v="94"/>
          <ac:spMkLst>
            <pc:docMk/>
            <pc:sldMk cId="1984782908" sldId="266"/>
            <ac:spMk id="31" creationId="{9C7953AE-0E10-4163-B5F4-AED77D2FD521}"/>
          </ac:spMkLst>
        </pc:spChg>
        <pc:spChg chg="mod">
          <ac:chgData name="Amandeep Singh" userId="192f9da3-bd5c-42c3-8f41-80b8549e6782" providerId="ADAL" clId="{446EA5A1-8936-4500-BBD5-2705C1BEBC2C}" dt="2021-07-15T21:56:30.642" v="100" actId="14100"/>
          <ac:spMkLst>
            <pc:docMk/>
            <pc:sldMk cId="1984782908" sldId="266"/>
            <ac:spMk id="37" creationId="{C1B9BF59-FD78-4598-AEEA-8D4C555B37D4}"/>
          </ac:spMkLst>
        </pc:spChg>
        <pc:spChg chg="mod">
          <ac:chgData name="Amandeep Singh" userId="192f9da3-bd5c-42c3-8f41-80b8549e6782" providerId="ADAL" clId="{446EA5A1-8936-4500-BBD5-2705C1BEBC2C}" dt="2021-07-15T21:56:09.981" v="94"/>
          <ac:spMkLst>
            <pc:docMk/>
            <pc:sldMk cId="1984782908" sldId="266"/>
            <ac:spMk id="49" creationId="{B494E851-4CC3-45F7-9AB5-402F2E5623F7}"/>
          </ac:spMkLst>
        </pc:spChg>
        <pc:spChg chg="mod">
          <ac:chgData name="Amandeep Singh" userId="192f9da3-bd5c-42c3-8f41-80b8549e6782" providerId="ADAL" clId="{446EA5A1-8936-4500-BBD5-2705C1BEBC2C}" dt="2021-07-15T21:56:09.981" v="94"/>
          <ac:spMkLst>
            <pc:docMk/>
            <pc:sldMk cId="1984782908" sldId="266"/>
            <ac:spMk id="50" creationId="{187B39E8-F26A-46B1-8130-65533DC26F53}"/>
          </ac:spMkLst>
        </pc:spChg>
        <pc:spChg chg="mod">
          <ac:chgData name="Amandeep Singh" userId="192f9da3-bd5c-42c3-8f41-80b8549e6782" providerId="ADAL" clId="{446EA5A1-8936-4500-BBD5-2705C1BEBC2C}" dt="2021-07-15T21:56:09.981" v="94"/>
          <ac:spMkLst>
            <pc:docMk/>
            <pc:sldMk cId="1984782908" sldId="266"/>
            <ac:spMk id="51" creationId="{6F44436B-1954-47D4-86BE-F20FFACA6146}"/>
          </ac:spMkLst>
        </pc:spChg>
        <pc:spChg chg="mod">
          <ac:chgData name="Amandeep Singh" userId="192f9da3-bd5c-42c3-8f41-80b8549e6782" providerId="ADAL" clId="{446EA5A1-8936-4500-BBD5-2705C1BEBC2C}" dt="2021-07-15T21:56:41.740" v="101" actId="14100"/>
          <ac:spMkLst>
            <pc:docMk/>
            <pc:sldMk cId="1984782908" sldId="266"/>
            <ac:spMk id="52" creationId="{80C1D183-69CB-4263-8D7B-E7DB98A3BCFE}"/>
          </ac:spMkLst>
        </pc:spChg>
        <pc:spChg chg="mod">
          <ac:chgData name="Amandeep Singh" userId="192f9da3-bd5c-42c3-8f41-80b8549e6782" providerId="ADAL" clId="{446EA5A1-8936-4500-BBD5-2705C1BEBC2C}" dt="2021-07-15T21:56:09.981" v="94"/>
          <ac:spMkLst>
            <pc:docMk/>
            <pc:sldMk cId="1984782908" sldId="266"/>
            <ac:spMk id="53" creationId="{127A159E-4A43-4097-B6BE-3EA649C7674E}"/>
          </ac:spMkLst>
        </pc:spChg>
        <pc:grpChg chg="add mod">
          <ac:chgData name="Amandeep Singh" userId="192f9da3-bd5c-42c3-8f41-80b8549e6782" providerId="ADAL" clId="{446EA5A1-8936-4500-BBD5-2705C1BEBC2C}" dt="2021-07-15T21:56:09.981" v="94"/>
          <ac:grpSpMkLst>
            <pc:docMk/>
            <pc:sldMk cId="1984782908" sldId="266"/>
            <ac:grpSpMk id="21" creationId="{1CF62BF7-31F8-4AB0-B8CE-01C62554C10E}"/>
          </ac:grpSpMkLst>
        </pc:grpChg>
        <pc:grpChg chg="del">
          <ac:chgData name="Amandeep Singh" userId="192f9da3-bd5c-42c3-8f41-80b8549e6782" providerId="ADAL" clId="{446EA5A1-8936-4500-BBD5-2705C1BEBC2C}" dt="2021-07-15T21:56:09.066" v="93" actId="478"/>
          <ac:grpSpMkLst>
            <pc:docMk/>
            <pc:sldMk cId="1984782908" sldId="266"/>
            <ac:grpSpMk id="32" creationId="{E33DE32E-B2BA-47B9-A058-0D77F86F182E}"/>
          </ac:grpSpMkLst>
        </pc:grpChg>
        <pc:graphicFrameChg chg="mod modGraphic">
          <ac:chgData name="Amandeep Singh" userId="192f9da3-bd5c-42c3-8f41-80b8549e6782" providerId="ADAL" clId="{446EA5A1-8936-4500-BBD5-2705C1BEBC2C}" dt="2021-07-15T21:56:16.329" v="95" actId="14100"/>
          <ac:graphicFrameMkLst>
            <pc:docMk/>
            <pc:sldMk cId="1984782908" sldId="266"/>
            <ac:graphicFrameMk id="7" creationId="{E1DAF2A5-EDFF-415A-BDEB-C482B9AC4525}"/>
          </ac:graphicFrameMkLst>
        </pc:graphicFrameChg>
        <pc:inkChg chg="mod">
          <ac:chgData name="Amandeep Singh" userId="192f9da3-bd5c-42c3-8f41-80b8549e6782" providerId="ADAL" clId="{446EA5A1-8936-4500-BBD5-2705C1BEBC2C}" dt="2021-07-15T21:56:09.981" v="94"/>
          <ac:inkMkLst>
            <pc:docMk/>
            <pc:sldMk cId="1984782908" sldId="266"/>
            <ac:inkMk id="22" creationId="{3766068A-BA74-4941-9827-68ECB696D705}"/>
          </ac:inkMkLst>
        </pc:inkChg>
      </pc:sldChg>
      <pc:sldChg chg="addSp delSp modSp mod">
        <pc:chgData name="Amandeep Singh" userId="192f9da3-bd5c-42c3-8f41-80b8549e6782" providerId="ADAL" clId="{446EA5A1-8936-4500-BBD5-2705C1BEBC2C}" dt="2021-07-15T22:00:21.595" v="139" actId="14100"/>
        <pc:sldMkLst>
          <pc:docMk/>
          <pc:sldMk cId="3360089249" sldId="267"/>
        </pc:sldMkLst>
        <pc:spChg chg="mod">
          <ac:chgData name="Amandeep Singh" userId="192f9da3-bd5c-42c3-8f41-80b8549e6782" providerId="ADAL" clId="{446EA5A1-8936-4500-BBD5-2705C1BEBC2C}" dt="2021-07-15T21:59:44.604" v="129"/>
          <ac:spMkLst>
            <pc:docMk/>
            <pc:sldMk cId="3360089249" sldId="267"/>
            <ac:spMk id="23" creationId="{701FEAE7-3FE5-4D71-8E3D-0E5F66AD93F0}"/>
          </ac:spMkLst>
        </pc:spChg>
        <pc:spChg chg="mod">
          <ac:chgData name="Amandeep Singh" userId="192f9da3-bd5c-42c3-8f41-80b8549e6782" providerId="ADAL" clId="{446EA5A1-8936-4500-BBD5-2705C1BEBC2C}" dt="2021-07-15T21:59:44.604" v="129"/>
          <ac:spMkLst>
            <pc:docMk/>
            <pc:sldMk cId="3360089249" sldId="267"/>
            <ac:spMk id="24" creationId="{CA2269D4-3FA2-49C7-BAD5-1511B5D8F23B}"/>
          </ac:spMkLst>
        </pc:spChg>
        <pc:spChg chg="mod">
          <ac:chgData name="Amandeep Singh" userId="192f9da3-bd5c-42c3-8f41-80b8549e6782" providerId="ADAL" clId="{446EA5A1-8936-4500-BBD5-2705C1BEBC2C}" dt="2021-07-15T21:59:44.604" v="129"/>
          <ac:spMkLst>
            <pc:docMk/>
            <pc:sldMk cId="3360089249" sldId="267"/>
            <ac:spMk id="25" creationId="{6BBB9B5D-F98A-45F6-9A12-0FBB36154F81}"/>
          </ac:spMkLst>
        </pc:spChg>
        <pc:spChg chg="mod">
          <ac:chgData name="Amandeep Singh" userId="192f9da3-bd5c-42c3-8f41-80b8549e6782" providerId="ADAL" clId="{446EA5A1-8936-4500-BBD5-2705C1BEBC2C}" dt="2021-07-15T21:59:44.604" v="129"/>
          <ac:spMkLst>
            <pc:docMk/>
            <pc:sldMk cId="3360089249" sldId="267"/>
            <ac:spMk id="26" creationId="{911BA015-0DFE-488D-983C-275CC81B5DDE}"/>
          </ac:spMkLst>
        </pc:spChg>
        <pc:spChg chg="mod">
          <ac:chgData name="Amandeep Singh" userId="192f9da3-bd5c-42c3-8f41-80b8549e6782" providerId="ADAL" clId="{446EA5A1-8936-4500-BBD5-2705C1BEBC2C}" dt="2021-07-15T22:00:08.351" v="137" actId="108"/>
          <ac:spMkLst>
            <pc:docMk/>
            <pc:sldMk cId="3360089249" sldId="267"/>
            <ac:spMk id="27" creationId="{C2416953-AF8E-479C-87CC-3EC9702B5710}"/>
          </ac:spMkLst>
        </pc:spChg>
        <pc:spChg chg="mod">
          <ac:chgData name="Amandeep Singh" userId="192f9da3-bd5c-42c3-8f41-80b8549e6782" providerId="ADAL" clId="{446EA5A1-8936-4500-BBD5-2705C1BEBC2C}" dt="2021-07-15T22:00:11.805" v="138" actId="108"/>
          <ac:spMkLst>
            <pc:docMk/>
            <pc:sldMk cId="3360089249" sldId="267"/>
            <ac:spMk id="28" creationId="{D55813B0-E92A-476F-819E-939222CB0895}"/>
          </ac:spMkLst>
        </pc:spChg>
        <pc:spChg chg="mod">
          <ac:chgData name="Amandeep Singh" userId="192f9da3-bd5c-42c3-8f41-80b8549e6782" providerId="ADAL" clId="{446EA5A1-8936-4500-BBD5-2705C1BEBC2C}" dt="2021-07-15T21:59:44.604" v="129"/>
          <ac:spMkLst>
            <pc:docMk/>
            <pc:sldMk cId="3360089249" sldId="267"/>
            <ac:spMk id="29" creationId="{0FD004D1-3417-4BE9-AA15-3F286C1ECC63}"/>
          </ac:spMkLst>
        </pc:spChg>
        <pc:spChg chg="mod">
          <ac:chgData name="Amandeep Singh" userId="192f9da3-bd5c-42c3-8f41-80b8549e6782" providerId="ADAL" clId="{446EA5A1-8936-4500-BBD5-2705C1BEBC2C}" dt="2021-07-15T21:59:44.604" v="129"/>
          <ac:spMkLst>
            <pc:docMk/>
            <pc:sldMk cId="3360089249" sldId="267"/>
            <ac:spMk id="30" creationId="{7EBD8284-8B58-4045-9BC4-C7A3E00C81C1}"/>
          </ac:spMkLst>
        </pc:spChg>
        <pc:spChg chg="mod">
          <ac:chgData name="Amandeep Singh" userId="192f9da3-bd5c-42c3-8f41-80b8549e6782" providerId="ADAL" clId="{446EA5A1-8936-4500-BBD5-2705C1BEBC2C}" dt="2021-07-15T21:59:44.604" v="129"/>
          <ac:spMkLst>
            <pc:docMk/>
            <pc:sldMk cId="3360089249" sldId="267"/>
            <ac:spMk id="31" creationId="{AB97ABE5-4FD9-412D-8243-F94E3FE7E890}"/>
          </ac:spMkLst>
        </pc:spChg>
        <pc:spChg chg="mod">
          <ac:chgData name="Amandeep Singh" userId="192f9da3-bd5c-42c3-8f41-80b8549e6782" providerId="ADAL" clId="{446EA5A1-8936-4500-BBD5-2705C1BEBC2C}" dt="2021-07-15T22:00:21.595" v="139" actId="14100"/>
          <ac:spMkLst>
            <pc:docMk/>
            <pc:sldMk cId="3360089249" sldId="267"/>
            <ac:spMk id="37" creationId="{C1B9BF59-FD78-4598-AEEA-8D4C555B37D4}"/>
          </ac:spMkLst>
        </pc:spChg>
        <pc:spChg chg="mod">
          <ac:chgData name="Amandeep Singh" userId="192f9da3-bd5c-42c3-8f41-80b8549e6782" providerId="ADAL" clId="{446EA5A1-8936-4500-BBD5-2705C1BEBC2C}" dt="2021-07-15T21:59:44.604" v="129"/>
          <ac:spMkLst>
            <pc:docMk/>
            <pc:sldMk cId="3360089249" sldId="267"/>
            <ac:spMk id="50" creationId="{A43B5D4D-73A7-488B-97E1-52A89ACF9792}"/>
          </ac:spMkLst>
        </pc:spChg>
        <pc:spChg chg="mod">
          <ac:chgData name="Amandeep Singh" userId="192f9da3-bd5c-42c3-8f41-80b8549e6782" providerId="ADAL" clId="{446EA5A1-8936-4500-BBD5-2705C1BEBC2C}" dt="2021-07-15T21:59:44.604" v="129"/>
          <ac:spMkLst>
            <pc:docMk/>
            <pc:sldMk cId="3360089249" sldId="267"/>
            <ac:spMk id="51" creationId="{F902AC53-2039-491B-8CF1-28967FA31855}"/>
          </ac:spMkLst>
        </pc:spChg>
        <pc:spChg chg="mod">
          <ac:chgData name="Amandeep Singh" userId="192f9da3-bd5c-42c3-8f41-80b8549e6782" providerId="ADAL" clId="{446EA5A1-8936-4500-BBD5-2705C1BEBC2C}" dt="2021-07-15T21:59:44.604" v="129"/>
          <ac:spMkLst>
            <pc:docMk/>
            <pc:sldMk cId="3360089249" sldId="267"/>
            <ac:spMk id="52" creationId="{CE8574E5-787E-4061-BD1F-6AE22F601016}"/>
          </ac:spMkLst>
        </pc:spChg>
        <pc:spChg chg="mod">
          <ac:chgData name="Amandeep Singh" userId="192f9da3-bd5c-42c3-8f41-80b8549e6782" providerId="ADAL" clId="{446EA5A1-8936-4500-BBD5-2705C1BEBC2C}" dt="2021-07-15T21:59:44.604" v="129"/>
          <ac:spMkLst>
            <pc:docMk/>
            <pc:sldMk cId="3360089249" sldId="267"/>
            <ac:spMk id="53" creationId="{AAA5EF9A-FB23-49A2-91A0-1D6DA200385A}"/>
          </ac:spMkLst>
        </pc:spChg>
        <pc:spChg chg="mod">
          <ac:chgData name="Amandeep Singh" userId="192f9da3-bd5c-42c3-8f41-80b8549e6782" providerId="ADAL" clId="{446EA5A1-8936-4500-BBD5-2705C1BEBC2C}" dt="2021-07-15T21:59:44.604" v="129"/>
          <ac:spMkLst>
            <pc:docMk/>
            <pc:sldMk cId="3360089249" sldId="267"/>
            <ac:spMk id="54" creationId="{FB89D149-12DE-47B4-8215-7EDA75293619}"/>
          </ac:spMkLst>
        </pc:spChg>
        <pc:grpChg chg="add mod">
          <ac:chgData name="Amandeep Singh" userId="192f9da3-bd5c-42c3-8f41-80b8549e6782" providerId="ADAL" clId="{446EA5A1-8936-4500-BBD5-2705C1BEBC2C}" dt="2021-07-15T21:59:44.604" v="129"/>
          <ac:grpSpMkLst>
            <pc:docMk/>
            <pc:sldMk cId="3360089249" sldId="267"/>
            <ac:grpSpMk id="21" creationId="{F70E2BE4-9665-4EF1-AE73-A6BD0E401C0A}"/>
          </ac:grpSpMkLst>
        </pc:grpChg>
        <pc:grpChg chg="del">
          <ac:chgData name="Amandeep Singh" userId="192f9da3-bd5c-42c3-8f41-80b8549e6782" providerId="ADAL" clId="{446EA5A1-8936-4500-BBD5-2705C1BEBC2C}" dt="2021-07-15T21:59:38.561" v="128" actId="478"/>
          <ac:grpSpMkLst>
            <pc:docMk/>
            <pc:sldMk cId="3360089249" sldId="267"/>
            <ac:grpSpMk id="32" creationId="{686D78BF-0638-4BDB-A4B7-EABA0D0E940E}"/>
          </ac:grpSpMkLst>
        </pc:grpChg>
        <pc:graphicFrameChg chg="mod modGraphic">
          <ac:chgData name="Amandeep Singh" userId="192f9da3-bd5c-42c3-8f41-80b8549e6782" providerId="ADAL" clId="{446EA5A1-8936-4500-BBD5-2705C1BEBC2C}" dt="2021-07-15T21:59:49.786" v="130" actId="14100"/>
          <ac:graphicFrameMkLst>
            <pc:docMk/>
            <pc:sldMk cId="3360089249" sldId="267"/>
            <ac:graphicFrameMk id="35" creationId="{8ED9BE5A-E89B-43D7-B6FE-223D219DC8AD}"/>
          </ac:graphicFrameMkLst>
        </pc:graphicFrameChg>
        <pc:inkChg chg="mod">
          <ac:chgData name="Amandeep Singh" userId="192f9da3-bd5c-42c3-8f41-80b8549e6782" providerId="ADAL" clId="{446EA5A1-8936-4500-BBD5-2705C1BEBC2C}" dt="2021-07-15T21:59:44.604" v="129"/>
          <ac:inkMkLst>
            <pc:docMk/>
            <pc:sldMk cId="3360089249" sldId="267"/>
            <ac:inkMk id="22" creationId="{D5027703-FDAA-4032-9249-878A2888C361}"/>
          </ac:inkMkLst>
        </pc:inkChg>
      </pc:sldChg>
      <pc:sldChg chg="addSp delSp modSp mod">
        <pc:chgData name="Amandeep Singh" userId="192f9da3-bd5c-42c3-8f41-80b8549e6782" providerId="ADAL" clId="{446EA5A1-8936-4500-BBD5-2705C1BEBC2C}" dt="2021-07-15T22:04:16.228" v="161" actId="14100"/>
        <pc:sldMkLst>
          <pc:docMk/>
          <pc:sldMk cId="3929588503" sldId="268"/>
        </pc:sldMkLst>
        <pc:spChg chg="mod">
          <ac:chgData name="Amandeep Singh" userId="192f9da3-bd5c-42c3-8f41-80b8549e6782" providerId="ADAL" clId="{446EA5A1-8936-4500-BBD5-2705C1BEBC2C}" dt="2021-07-15T22:00:34.641" v="141"/>
          <ac:spMkLst>
            <pc:docMk/>
            <pc:sldMk cId="3929588503" sldId="268"/>
            <ac:spMk id="23" creationId="{318E3C34-1F6D-4115-B169-E28E94FD54C8}"/>
          </ac:spMkLst>
        </pc:spChg>
        <pc:spChg chg="mod">
          <ac:chgData name="Amandeep Singh" userId="192f9da3-bd5c-42c3-8f41-80b8549e6782" providerId="ADAL" clId="{446EA5A1-8936-4500-BBD5-2705C1BEBC2C}" dt="2021-07-15T22:00:34.641" v="141"/>
          <ac:spMkLst>
            <pc:docMk/>
            <pc:sldMk cId="3929588503" sldId="268"/>
            <ac:spMk id="24" creationId="{199FCB93-12F7-448B-9B43-85182ABC11B2}"/>
          </ac:spMkLst>
        </pc:spChg>
        <pc:spChg chg="mod">
          <ac:chgData name="Amandeep Singh" userId="192f9da3-bd5c-42c3-8f41-80b8549e6782" providerId="ADAL" clId="{446EA5A1-8936-4500-BBD5-2705C1BEBC2C}" dt="2021-07-15T22:00:34.641" v="141"/>
          <ac:spMkLst>
            <pc:docMk/>
            <pc:sldMk cId="3929588503" sldId="268"/>
            <ac:spMk id="25" creationId="{DC659190-D460-4002-BAC4-F21B1A66A3AC}"/>
          </ac:spMkLst>
        </pc:spChg>
        <pc:spChg chg="mod">
          <ac:chgData name="Amandeep Singh" userId="192f9da3-bd5c-42c3-8f41-80b8549e6782" providerId="ADAL" clId="{446EA5A1-8936-4500-BBD5-2705C1BEBC2C}" dt="2021-07-15T22:00:34.641" v="141"/>
          <ac:spMkLst>
            <pc:docMk/>
            <pc:sldMk cId="3929588503" sldId="268"/>
            <ac:spMk id="26" creationId="{3D711251-7722-4263-BDAB-07D656A98525}"/>
          </ac:spMkLst>
        </pc:spChg>
        <pc:spChg chg="mod">
          <ac:chgData name="Amandeep Singh" userId="192f9da3-bd5c-42c3-8f41-80b8549e6782" providerId="ADAL" clId="{446EA5A1-8936-4500-BBD5-2705C1BEBC2C}" dt="2021-07-15T22:00:34.641" v="141"/>
          <ac:spMkLst>
            <pc:docMk/>
            <pc:sldMk cId="3929588503" sldId="268"/>
            <ac:spMk id="27" creationId="{0FBF9943-7C6B-449E-B74D-DE3B2F4C393E}"/>
          </ac:spMkLst>
        </pc:spChg>
        <pc:spChg chg="mod">
          <ac:chgData name="Amandeep Singh" userId="192f9da3-bd5c-42c3-8f41-80b8549e6782" providerId="ADAL" clId="{446EA5A1-8936-4500-BBD5-2705C1BEBC2C}" dt="2021-07-15T22:00:34.641" v="141"/>
          <ac:spMkLst>
            <pc:docMk/>
            <pc:sldMk cId="3929588503" sldId="268"/>
            <ac:spMk id="28" creationId="{EF206619-4B15-4FB6-BCF6-6F8A5C9F227E}"/>
          </ac:spMkLst>
        </pc:spChg>
        <pc:spChg chg="mod">
          <ac:chgData name="Amandeep Singh" userId="192f9da3-bd5c-42c3-8f41-80b8549e6782" providerId="ADAL" clId="{446EA5A1-8936-4500-BBD5-2705C1BEBC2C}" dt="2021-07-15T22:00:34.641" v="141"/>
          <ac:spMkLst>
            <pc:docMk/>
            <pc:sldMk cId="3929588503" sldId="268"/>
            <ac:spMk id="29" creationId="{01D83FC3-873E-4759-ADFF-B43F266EA819}"/>
          </ac:spMkLst>
        </pc:spChg>
        <pc:spChg chg="mod">
          <ac:chgData name="Amandeep Singh" userId="192f9da3-bd5c-42c3-8f41-80b8549e6782" providerId="ADAL" clId="{446EA5A1-8936-4500-BBD5-2705C1BEBC2C}" dt="2021-07-15T22:00:34.641" v="141"/>
          <ac:spMkLst>
            <pc:docMk/>
            <pc:sldMk cId="3929588503" sldId="268"/>
            <ac:spMk id="30" creationId="{37B177B5-EA27-4204-8753-197B975C4354}"/>
          </ac:spMkLst>
        </pc:spChg>
        <pc:spChg chg="mod">
          <ac:chgData name="Amandeep Singh" userId="192f9da3-bd5c-42c3-8f41-80b8549e6782" providerId="ADAL" clId="{446EA5A1-8936-4500-BBD5-2705C1BEBC2C}" dt="2021-07-15T22:00:34.641" v="141"/>
          <ac:spMkLst>
            <pc:docMk/>
            <pc:sldMk cId="3929588503" sldId="268"/>
            <ac:spMk id="31" creationId="{CBFBE69F-B3F5-49DE-A789-B0D8D44940B5}"/>
          </ac:spMkLst>
        </pc:spChg>
        <pc:spChg chg="mod">
          <ac:chgData name="Amandeep Singh" userId="192f9da3-bd5c-42c3-8f41-80b8549e6782" providerId="ADAL" clId="{446EA5A1-8936-4500-BBD5-2705C1BEBC2C}" dt="2021-07-15T22:00:45.465" v="143" actId="1076"/>
          <ac:spMkLst>
            <pc:docMk/>
            <pc:sldMk cId="3929588503" sldId="268"/>
            <ac:spMk id="37" creationId="{C1B9BF59-FD78-4598-AEEA-8D4C555B37D4}"/>
          </ac:spMkLst>
        </pc:spChg>
        <pc:spChg chg="mod">
          <ac:chgData name="Amandeep Singh" userId="192f9da3-bd5c-42c3-8f41-80b8549e6782" providerId="ADAL" clId="{446EA5A1-8936-4500-BBD5-2705C1BEBC2C}" dt="2021-07-15T22:00:34.641" v="141"/>
          <ac:spMkLst>
            <pc:docMk/>
            <pc:sldMk cId="3929588503" sldId="268"/>
            <ac:spMk id="50" creationId="{8AB5F44C-7FFB-4385-BDB9-6F647682309A}"/>
          </ac:spMkLst>
        </pc:spChg>
        <pc:spChg chg="mod">
          <ac:chgData name="Amandeep Singh" userId="192f9da3-bd5c-42c3-8f41-80b8549e6782" providerId="ADAL" clId="{446EA5A1-8936-4500-BBD5-2705C1BEBC2C}" dt="2021-07-15T22:00:34.641" v="141"/>
          <ac:spMkLst>
            <pc:docMk/>
            <pc:sldMk cId="3929588503" sldId="268"/>
            <ac:spMk id="51" creationId="{945EDDC0-84AF-421A-8B59-242CE419770A}"/>
          </ac:spMkLst>
        </pc:spChg>
        <pc:spChg chg="mod">
          <ac:chgData name="Amandeep Singh" userId="192f9da3-bd5c-42c3-8f41-80b8549e6782" providerId="ADAL" clId="{446EA5A1-8936-4500-BBD5-2705C1BEBC2C}" dt="2021-07-15T22:00:34.641" v="141"/>
          <ac:spMkLst>
            <pc:docMk/>
            <pc:sldMk cId="3929588503" sldId="268"/>
            <ac:spMk id="52" creationId="{97348BC2-4D43-4734-802A-CBA914E440E8}"/>
          </ac:spMkLst>
        </pc:spChg>
        <pc:spChg chg="mod">
          <ac:chgData name="Amandeep Singh" userId="192f9da3-bd5c-42c3-8f41-80b8549e6782" providerId="ADAL" clId="{446EA5A1-8936-4500-BBD5-2705C1BEBC2C}" dt="2021-07-15T22:00:34.641" v="141"/>
          <ac:spMkLst>
            <pc:docMk/>
            <pc:sldMk cId="3929588503" sldId="268"/>
            <ac:spMk id="53" creationId="{ECFEF9D7-067A-412E-9607-B38BD825C2E1}"/>
          </ac:spMkLst>
        </pc:spChg>
        <pc:spChg chg="mod">
          <ac:chgData name="Amandeep Singh" userId="192f9da3-bd5c-42c3-8f41-80b8549e6782" providerId="ADAL" clId="{446EA5A1-8936-4500-BBD5-2705C1BEBC2C}" dt="2021-07-15T22:00:34.641" v="141"/>
          <ac:spMkLst>
            <pc:docMk/>
            <pc:sldMk cId="3929588503" sldId="268"/>
            <ac:spMk id="54" creationId="{2B82429C-C8BE-45D1-9B97-446A1FC9BD36}"/>
          </ac:spMkLst>
        </pc:spChg>
        <pc:grpChg chg="add mod">
          <ac:chgData name="Amandeep Singh" userId="192f9da3-bd5c-42c3-8f41-80b8549e6782" providerId="ADAL" clId="{446EA5A1-8936-4500-BBD5-2705C1BEBC2C}" dt="2021-07-15T22:00:34.641" v="141"/>
          <ac:grpSpMkLst>
            <pc:docMk/>
            <pc:sldMk cId="3929588503" sldId="268"/>
            <ac:grpSpMk id="21" creationId="{C2E78471-9538-46A4-AD1C-1D2CACE462D6}"/>
          </ac:grpSpMkLst>
        </pc:grpChg>
        <pc:grpChg chg="del">
          <ac:chgData name="Amandeep Singh" userId="192f9da3-bd5c-42c3-8f41-80b8549e6782" providerId="ADAL" clId="{446EA5A1-8936-4500-BBD5-2705C1BEBC2C}" dt="2021-07-15T22:00:29.396" v="140" actId="478"/>
          <ac:grpSpMkLst>
            <pc:docMk/>
            <pc:sldMk cId="3929588503" sldId="268"/>
            <ac:grpSpMk id="32" creationId="{49230F63-D024-482C-8698-3B0AF910F4A5}"/>
          </ac:grpSpMkLst>
        </pc:grpChg>
        <pc:graphicFrameChg chg="mod modGraphic">
          <ac:chgData name="Amandeep Singh" userId="192f9da3-bd5c-42c3-8f41-80b8549e6782" providerId="ADAL" clId="{446EA5A1-8936-4500-BBD5-2705C1BEBC2C}" dt="2021-07-15T22:04:16.228" v="161" actId="14100"/>
          <ac:graphicFrameMkLst>
            <pc:docMk/>
            <pc:sldMk cId="3929588503" sldId="268"/>
            <ac:graphicFrameMk id="35" creationId="{8ED9BE5A-E89B-43D7-B6FE-223D219DC8AD}"/>
          </ac:graphicFrameMkLst>
        </pc:graphicFrameChg>
        <pc:inkChg chg="mod">
          <ac:chgData name="Amandeep Singh" userId="192f9da3-bd5c-42c3-8f41-80b8549e6782" providerId="ADAL" clId="{446EA5A1-8936-4500-BBD5-2705C1BEBC2C}" dt="2021-07-15T22:00:34.641" v="141"/>
          <ac:inkMkLst>
            <pc:docMk/>
            <pc:sldMk cId="3929588503" sldId="268"/>
            <ac:inkMk id="22" creationId="{0E846111-9E73-419D-8BAE-C6F82ADF22AF}"/>
          </ac:inkMkLst>
        </pc:inkChg>
      </pc:sldChg>
      <pc:sldChg chg="addSp delSp modSp mod">
        <pc:chgData name="Amandeep Singh" userId="192f9da3-bd5c-42c3-8f41-80b8549e6782" providerId="ADAL" clId="{446EA5A1-8936-4500-BBD5-2705C1BEBC2C}" dt="2021-07-15T21:58:36.209" v="120" actId="108"/>
        <pc:sldMkLst>
          <pc:docMk/>
          <pc:sldMk cId="1955426766" sldId="269"/>
        </pc:sldMkLst>
        <pc:spChg chg="mod">
          <ac:chgData name="Amandeep Singh" userId="192f9da3-bd5c-42c3-8f41-80b8549e6782" providerId="ADAL" clId="{446EA5A1-8936-4500-BBD5-2705C1BEBC2C}" dt="2021-07-15T21:58:19.968" v="115"/>
          <ac:spMkLst>
            <pc:docMk/>
            <pc:sldMk cId="1955426766" sldId="269"/>
            <ac:spMk id="23" creationId="{82F4A1D3-872C-496B-96E8-A48934B73419}"/>
          </ac:spMkLst>
        </pc:spChg>
        <pc:spChg chg="mod">
          <ac:chgData name="Amandeep Singh" userId="192f9da3-bd5c-42c3-8f41-80b8549e6782" providerId="ADAL" clId="{446EA5A1-8936-4500-BBD5-2705C1BEBC2C}" dt="2021-07-15T21:58:19.968" v="115"/>
          <ac:spMkLst>
            <pc:docMk/>
            <pc:sldMk cId="1955426766" sldId="269"/>
            <ac:spMk id="24" creationId="{B5D66C57-F750-4132-A752-9C99B1060517}"/>
          </ac:spMkLst>
        </pc:spChg>
        <pc:spChg chg="mod">
          <ac:chgData name="Amandeep Singh" userId="192f9da3-bd5c-42c3-8f41-80b8549e6782" providerId="ADAL" clId="{446EA5A1-8936-4500-BBD5-2705C1BEBC2C}" dt="2021-07-15T21:58:19.968" v="115"/>
          <ac:spMkLst>
            <pc:docMk/>
            <pc:sldMk cId="1955426766" sldId="269"/>
            <ac:spMk id="25" creationId="{CE1B8855-08A0-4359-B5C4-117EE6847E7F}"/>
          </ac:spMkLst>
        </pc:spChg>
        <pc:spChg chg="mod">
          <ac:chgData name="Amandeep Singh" userId="192f9da3-bd5c-42c3-8f41-80b8549e6782" providerId="ADAL" clId="{446EA5A1-8936-4500-BBD5-2705C1BEBC2C}" dt="2021-07-15T21:58:36.209" v="120" actId="108"/>
          <ac:spMkLst>
            <pc:docMk/>
            <pc:sldMk cId="1955426766" sldId="269"/>
            <ac:spMk id="26" creationId="{D1367C05-66A4-44A1-A4E1-2D2E7F6C1B77}"/>
          </ac:spMkLst>
        </pc:spChg>
        <pc:spChg chg="mod">
          <ac:chgData name="Amandeep Singh" userId="192f9da3-bd5c-42c3-8f41-80b8549e6782" providerId="ADAL" clId="{446EA5A1-8936-4500-BBD5-2705C1BEBC2C}" dt="2021-07-15T21:58:19.968" v="115"/>
          <ac:spMkLst>
            <pc:docMk/>
            <pc:sldMk cId="1955426766" sldId="269"/>
            <ac:spMk id="27" creationId="{B6F593C3-4637-4438-AAE3-F62637B491B1}"/>
          </ac:spMkLst>
        </pc:spChg>
        <pc:spChg chg="mod">
          <ac:chgData name="Amandeep Singh" userId="192f9da3-bd5c-42c3-8f41-80b8549e6782" providerId="ADAL" clId="{446EA5A1-8936-4500-BBD5-2705C1BEBC2C}" dt="2021-07-15T21:58:33.090" v="119" actId="108"/>
          <ac:spMkLst>
            <pc:docMk/>
            <pc:sldMk cId="1955426766" sldId="269"/>
            <ac:spMk id="28" creationId="{E49E772F-7818-4006-B39C-77D1DFF44B41}"/>
          </ac:spMkLst>
        </pc:spChg>
        <pc:spChg chg="mod">
          <ac:chgData name="Amandeep Singh" userId="192f9da3-bd5c-42c3-8f41-80b8549e6782" providerId="ADAL" clId="{446EA5A1-8936-4500-BBD5-2705C1BEBC2C}" dt="2021-07-15T21:58:19.968" v="115"/>
          <ac:spMkLst>
            <pc:docMk/>
            <pc:sldMk cId="1955426766" sldId="269"/>
            <ac:spMk id="29" creationId="{F22A55DF-105C-4A50-83B6-598CA1B9BC86}"/>
          </ac:spMkLst>
        </pc:spChg>
        <pc:spChg chg="mod">
          <ac:chgData name="Amandeep Singh" userId="192f9da3-bd5c-42c3-8f41-80b8549e6782" providerId="ADAL" clId="{446EA5A1-8936-4500-BBD5-2705C1BEBC2C}" dt="2021-07-15T21:58:19.968" v="115"/>
          <ac:spMkLst>
            <pc:docMk/>
            <pc:sldMk cId="1955426766" sldId="269"/>
            <ac:spMk id="30" creationId="{F7B7EF1D-CDBA-4B7E-90B1-75F92D4E90BE}"/>
          </ac:spMkLst>
        </pc:spChg>
        <pc:spChg chg="mod">
          <ac:chgData name="Amandeep Singh" userId="192f9da3-bd5c-42c3-8f41-80b8549e6782" providerId="ADAL" clId="{446EA5A1-8936-4500-BBD5-2705C1BEBC2C}" dt="2021-07-15T21:58:19.968" v="115"/>
          <ac:spMkLst>
            <pc:docMk/>
            <pc:sldMk cId="1955426766" sldId="269"/>
            <ac:spMk id="31" creationId="{E3DAD699-9BD1-44AB-B745-F646378E1579}"/>
          </ac:spMkLst>
        </pc:spChg>
        <pc:spChg chg="mod">
          <ac:chgData name="Amandeep Singh" userId="192f9da3-bd5c-42c3-8f41-80b8549e6782" providerId="ADAL" clId="{446EA5A1-8936-4500-BBD5-2705C1BEBC2C}" dt="2021-07-15T21:58:19.968" v="115"/>
          <ac:spMkLst>
            <pc:docMk/>
            <pc:sldMk cId="1955426766" sldId="269"/>
            <ac:spMk id="32" creationId="{CF5876DC-D0A8-4461-AFE7-48AE96A0DCDE}"/>
          </ac:spMkLst>
        </pc:spChg>
        <pc:spChg chg="mod">
          <ac:chgData name="Amandeep Singh" userId="192f9da3-bd5c-42c3-8f41-80b8549e6782" providerId="ADAL" clId="{446EA5A1-8936-4500-BBD5-2705C1BEBC2C}" dt="2021-07-15T21:58:19.968" v="115"/>
          <ac:spMkLst>
            <pc:docMk/>
            <pc:sldMk cId="1955426766" sldId="269"/>
            <ac:spMk id="33" creationId="{5E465220-8220-4C3F-ADB6-4217E7036630}"/>
          </ac:spMkLst>
        </pc:spChg>
        <pc:spChg chg="mod">
          <ac:chgData name="Amandeep Singh" userId="192f9da3-bd5c-42c3-8f41-80b8549e6782" providerId="ADAL" clId="{446EA5A1-8936-4500-BBD5-2705C1BEBC2C}" dt="2021-07-15T21:58:23.209" v="116" actId="1076"/>
          <ac:spMkLst>
            <pc:docMk/>
            <pc:sldMk cId="1955426766" sldId="269"/>
            <ac:spMk id="37" creationId="{C1B9BF59-FD78-4598-AEEA-8D4C555B37D4}"/>
          </ac:spMkLst>
        </pc:spChg>
        <pc:spChg chg="mod">
          <ac:chgData name="Amandeep Singh" userId="192f9da3-bd5c-42c3-8f41-80b8549e6782" providerId="ADAL" clId="{446EA5A1-8936-4500-BBD5-2705C1BEBC2C}" dt="2021-07-15T21:58:13.932" v="113" actId="6549"/>
          <ac:spMkLst>
            <pc:docMk/>
            <pc:sldMk cId="1955426766" sldId="269"/>
            <ac:spMk id="41" creationId="{E3659B04-0BAE-495B-97B2-C2B38D019356}"/>
          </ac:spMkLst>
        </pc:spChg>
        <pc:spChg chg="mod">
          <ac:chgData name="Amandeep Singh" userId="192f9da3-bd5c-42c3-8f41-80b8549e6782" providerId="ADAL" clId="{446EA5A1-8936-4500-BBD5-2705C1BEBC2C}" dt="2021-07-15T21:58:19.968" v="115"/>
          <ac:spMkLst>
            <pc:docMk/>
            <pc:sldMk cId="1955426766" sldId="269"/>
            <ac:spMk id="52" creationId="{8BD00C95-1C74-4C7C-A066-6425B4C81FF1}"/>
          </ac:spMkLst>
        </pc:spChg>
        <pc:spChg chg="mod">
          <ac:chgData name="Amandeep Singh" userId="192f9da3-bd5c-42c3-8f41-80b8549e6782" providerId="ADAL" clId="{446EA5A1-8936-4500-BBD5-2705C1BEBC2C}" dt="2021-07-15T21:58:19.968" v="115"/>
          <ac:spMkLst>
            <pc:docMk/>
            <pc:sldMk cId="1955426766" sldId="269"/>
            <ac:spMk id="53" creationId="{687602BA-8E81-4BA1-B114-421945127CE9}"/>
          </ac:spMkLst>
        </pc:spChg>
        <pc:spChg chg="mod">
          <ac:chgData name="Amandeep Singh" userId="192f9da3-bd5c-42c3-8f41-80b8549e6782" providerId="ADAL" clId="{446EA5A1-8936-4500-BBD5-2705C1BEBC2C}" dt="2021-07-15T21:58:19.968" v="115"/>
          <ac:spMkLst>
            <pc:docMk/>
            <pc:sldMk cId="1955426766" sldId="269"/>
            <ac:spMk id="54" creationId="{43CB3B6B-C529-400E-9B70-D8CC09C3B0FD}"/>
          </ac:spMkLst>
        </pc:spChg>
        <pc:grpChg chg="add mod">
          <ac:chgData name="Amandeep Singh" userId="192f9da3-bd5c-42c3-8f41-80b8549e6782" providerId="ADAL" clId="{446EA5A1-8936-4500-BBD5-2705C1BEBC2C}" dt="2021-07-15T21:58:19.968" v="115"/>
          <ac:grpSpMkLst>
            <pc:docMk/>
            <pc:sldMk cId="1955426766" sldId="269"/>
            <ac:grpSpMk id="21" creationId="{55AC6EFC-9520-4E62-99DA-EFD542C0B894}"/>
          </ac:grpSpMkLst>
        </pc:grpChg>
        <pc:grpChg chg="del">
          <ac:chgData name="Amandeep Singh" userId="192f9da3-bd5c-42c3-8f41-80b8549e6782" providerId="ADAL" clId="{446EA5A1-8936-4500-BBD5-2705C1BEBC2C}" dt="2021-07-15T21:58:16.382" v="114" actId="478"/>
          <ac:grpSpMkLst>
            <pc:docMk/>
            <pc:sldMk cId="1955426766" sldId="269"/>
            <ac:grpSpMk id="34" creationId="{0492CE48-0474-4B88-B6CA-6A8709C191AE}"/>
          </ac:grpSpMkLst>
        </pc:grpChg>
        <pc:inkChg chg="mod">
          <ac:chgData name="Amandeep Singh" userId="192f9da3-bd5c-42c3-8f41-80b8549e6782" providerId="ADAL" clId="{446EA5A1-8936-4500-BBD5-2705C1BEBC2C}" dt="2021-07-15T21:58:19.968" v="115"/>
          <ac:inkMkLst>
            <pc:docMk/>
            <pc:sldMk cId="1955426766" sldId="269"/>
            <ac:inkMk id="22" creationId="{E4856092-6298-4B77-95C6-8E9A1320F49E}"/>
          </ac:inkMkLst>
        </pc:inkChg>
      </pc:sldChg>
      <pc:sldChg chg="addSp delSp modSp mod">
        <pc:chgData name="Amandeep Singh" userId="192f9da3-bd5c-42c3-8f41-80b8549e6782" providerId="ADAL" clId="{446EA5A1-8936-4500-BBD5-2705C1BEBC2C}" dt="2021-07-15T21:59:23.176" v="127" actId="14100"/>
        <pc:sldMkLst>
          <pc:docMk/>
          <pc:sldMk cId="3507116976" sldId="270"/>
        </pc:sldMkLst>
        <pc:spChg chg="mod">
          <ac:chgData name="Amandeep Singh" userId="192f9da3-bd5c-42c3-8f41-80b8549e6782" providerId="ADAL" clId="{446EA5A1-8936-4500-BBD5-2705C1BEBC2C}" dt="2021-07-15T21:57:46.013" v="106"/>
          <ac:spMkLst>
            <pc:docMk/>
            <pc:sldMk cId="3507116976" sldId="270"/>
            <ac:spMk id="23" creationId="{4D654ACE-2ACC-4F44-96BF-773DABEF08CF}"/>
          </ac:spMkLst>
        </pc:spChg>
        <pc:spChg chg="mod">
          <ac:chgData name="Amandeep Singh" userId="192f9da3-bd5c-42c3-8f41-80b8549e6782" providerId="ADAL" clId="{446EA5A1-8936-4500-BBD5-2705C1BEBC2C}" dt="2021-07-15T21:57:46.013" v="106"/>
          <ac:spMkLst>
            <pc:docMk/>
            <pc:sldMk cId="3507116976" sldId="270"/>
            <ac:spMk id="24" creationId="{52AB97EE-DE09-4D7E-BDD3-E17E79166273}"/>
          </ac:spMkLst>
        </pc:spChg>
        <pc:spChg chg="mod">
          <ac:chgData name="Amandeep Singh" userId="192f9da3-bd5c-42c3-8f41-80b8549e6782" providerId="ADAL" clId="{446EA5A1-8936-4500-BBD5-2705C1BEBC2C}" dt="2021-07-15T21:57:46.013" v="106"/>
          <ac:spMkLst>
            <pc:docMk/>
            <pc:sldMk cId="3507116976" sldId="270"/>
            <ac:spMk id="25" creationId="{7F474DCE-7D8B-4050-A24E-31A270FFE421}"/>
          </ac:spMkLst>
        </pc:spChg>
        <pc:spChg chg="mod">
          <ac:chgData name="Amandeep Singh" userId="192f9da3-bd5c-42c3-8f41-80b8549e6782" providerId="ADAL" clId="{446EA5A1-8936-4500-BBD5-2705C1BEBC2C}" dt="2021-07-15T21:57:46.013" v="106"/>
          <ac:spMkLst>
            <pc:docMk/>
            <pc:sldMk cId="3507116976" sldId="270"/>
            <ac:spMk id="26" creationId="{59CC250C-83FA-41F4-A38E-37D42ABD8D11}"/>
          </ac:spMkLst>
        </pc:spChg>
        <pc:spChg chg="mod">
          <ac:chgData name="Amandeep Singh" userId="192f9da3-bd5c-42c3-8f41-80b8549e6782" providerId="ADAL" clId="{446EA5A1-8936-4500-BBD5-2705C1BEBC2C}" dt="2021-07-15T21:57:46.013" v="106"/>
          <ac:spMkLst>
            <pc:docMk/>
            <pc:sldMk cId="3507116976" sldId="270"/>
            <ac:spMk id="27" creationId="{ED9C4531-F538-49AF-99EC-3982FAEC853F}"/>
          </ac:spMkLst>
        </pc:spChg>
        <pc:spChg chg="mod">
          <ac:chgData name="Amandeep Singh" userId="192f9da3-bd5c-42c3-8f41-80b8549e6782" providerId="ADAL" clId="{446EA5A1-8936-4500-BBD5-2705C1BEBC2C}" dt="2021-07-15T21:57:46.013" v="106"/>
          <ac:spMkLst>
            <pc:docMk/>
            <pc:sldMk cId="3507116976" sldId="270"/>
            <ac:spMk id="28" creationId="{32E16E87-4DC9-4BAD-995D-A8852B93591B}"/>
          </ac:spMkLst>
        </pc:spChg>
        <pc:spChg chg="mod">
          <ac:chgData name="Amandeep Singh" userId="192f9da3-bd5c-42c3-8f41-80b8549e6782" providerId="ADAL" clId="{446EA5A1-8936-4500-BBD5-2705C1BEBC2C}" dt="2021-07-15T21:57:46.013" v="106"/>
          <ac:spMkLst>
            <pc:docMk/>
            <pc:sldMk cId="3507116976" sldId="270"/>
            <ac:spMk id="29" creationId="{68312453-37B2-4F58-A640-7988807C8B10}"/>
          </ac:spMkLst>
        </pc:spChg>
        <pc:spChg chg="mod">
          <ac:chgData name="Amandeep Singh" userId="192f9da3-bd5c-42c3-8f41-80b8549e6782" providerId="ADAL" clId="{446EA5A1-8936-4500-BBD5-2705C1BEBC2C}" dt="2021-07-15T21:57:46.013" v="106"/>
          <ac:spMkLst>
            <pc:docMk/>
            <pc:sldMk cId="3507116976" sldId="270"/>
            <ac:spMk id="30" creationId="{A2D3131D-4784-4EF5-8852-8B069DB8BB24}"/>
          </ac:spMkLst>
        </pc:spChg>
        <pc:spChg chg="mod">
          <ac:chgData name="Amandeep Singh" userId="192f9da3-bd5c-42c3-8f41-80b8549e6782" providerId="ADAL" clId="{446EA5A1-8936-4500-BBD5-2705C1BEBC2C}" dt="2021-07-15T21:57:46.013" v="106"/>
          <ac:spMkLst>
            <pc:docMk/>
            <pc:sldMk cId="3507116976" sldId="270"/>
            <ac:spMk id="31" creationId="{5115B53A-DCDF-4418-8455-1A40E29B9A8C}"/>
          </ac:spMkLst>
        </pc:spChg>
        <pc:spChg chg="mod">
          <ac:chgData name="Amandeep Singh" userId="192f9da3-bd5c-42c3-8f41-80b8549e6782" providerId="ADAL" clId="{446EA5A1-8936-4500-BBD5-2705C1BEBC2C}" dt="2021-07-15T21:57:46.013" v="106"/>
          <ac:spMkLst>
            <pc:docMk/>
            <pc:sldMk cId="3507116976" sldId="270"/>
            <ac:spMk id="32" creationId="{4FAC0812-D117-4AFF-B06A-6FB1D83A9551}"/>
          </ac:spMkLst>
        </pc:spChg>
        <pc:spChg chg="mod">
          <ac:chgData name="Amandeep Singh" userId="192f9da3-bd5c-42c3-8f41-80b8549e6782" providerId="ADAL" clId="{446EA5A1-8936-4500-BBD5-2705C1BEBC2C}" dt="2021-07-15T21:59:23.176" v="127" actId="14100"/>
          <ac:spMkLst>
            <pc:docMk/>
            <pc:sldMk cId="3507116976" sldId="270"/>
            <ac:spMk id="37" creationId="{C1B9BF59-FD78-4598-AEEA-8D4C555B37D4}"/>
          </ac:spMkLst>
        </pc:spChg>
        <pc:spChg chg="mod">
          <ac:chgData name="Amandeep Singh" userId="192f9da3-bd5c-42c3-8f41-80b8549e6782" providerId="ADAL" clId="{446EA5A1-8936-4500-BBD5-2705C1BEBC2C}" dt="2021-07-15T21:57:46.013" v="106"/>
          <ac:spMkLst>
            <pc:docMk/>
            <pc:sldMk cId="3507116976" sldId="270"/>
            <ac:spMk id="50" creationId="{4EB2C935-5643-40CC-A8C8-0B949DF74A25}"/>
          </ac:spMkLst>
        </pc:spChg>
        <pc:spChg chg="mod">
          <ac:chgData name="Amandeep Singh" userId="192f9da3-bd5c-42c3-8f41-80b8549e6782" providerId="ADAL" clId="{446EA5A1-8936-4500-BBD5-2705C1BEBC2C}" dt="2021-07-15T21:57:46.013" v="106"/>
          <ac:spMkLst>
            <pc:docMk/>
            <pc:sldMk cId="3507116976" sldId="270"/>
            <ac:spMk id="51" creationId="{9EB51C6E-7663-48EB-84F5-532A7AFE3AB3}"/>
          </ac:spMkLst>
        </pc:spChg>
        <pc:spChg chg="mod">
          <ac:chgData name="Amandeep Singh" userId="192f9da3-bd5c-42c3-8f41-80b8549e6782" providerId="ADAL" clId="{446EA5A1-8936-4500-BBD5-2705C1BEBC2C}" dt="2021-07-15T21:57:46.013" v="106"/>
          <ac:spMkLst>
            <pc:docMk/>
            <pc:sldMk cId="3507116976" sldId="270"/>
            <ac:spMk id="52" creationId="{4789DD7E-9515-44D6-A649-35AD2725E133}"/>
          </ac:spMkLst>
        </pc:spChg>
        <pc:spChg chg="mod">
          <ac:chgData name="Amandeep Singh" userId="192f9da3-bd5c-42c3-8f41-80b8549e6782" providerId="ADAL" clId="{446EA5A1-8936-4500-BBD5-2705C1BEBC2C}" dt="2021-07-15T21:57:46.013" v="106"/>
          <ac:spMkLst>
            <pc:docMk/>
            <pc:sldMk cId="3507116976" sldId="270"/>
            <ac:spMk id="53" creationId="{E0FAD256-3F81-4117-93A9-5CB6196EF543}"/>
          </ac:spMkLst>
        </pc:spChg>
        <pc:grpChg chg="add mod">
          <ac:chgData name="Amandeep Singh" userId="192f9da3-bd5c-42c3-8f41-80b8549e6782" providerId="ADAL" clId="{446EA5A1-8936-4500-BBD5-2705C1BEBC2C}" dt="2021-07-15T21:57:46.013" v="106"/>
          <ac:grpSpMkLst>
            <pc:docMk/>
            <pc:sldMk cId="3507116976" sldId="270"/>
            <ac:grpSpMk id="21" creationId="{ADFDA03A-493B-4CFA-AF81-6B736F6A10B7}"/>
          </ac:grpSpMkLst>
        </pc:grpChg>
        <pc:grpChg chg="del">
          <ac:chgData name="Amandeep Singh" userId="192f9da3-bd5c-42c3-8f41-80b8549e6782" providerId="ADAL" clId="{446EA5A1-8936-4500-BBD5-2705C1BEBC2C}" dt="2021-07-15T21:57:41.666" v="105" actId="478"/>
          <ac:grpSpMkLst>
            <pc:docMk/>
            <pc:sldMk cId="3507116976" sldId="270"/>
            <ac:grpSpMk id="33" creationId="{B1993067-A58A-4E0B-901D-139C40927ACA}"/>
          </ac:grpSpMkLst>
        </pc:grpChg>
        <pc:graphicFrameChg chg="mod modGraphic">
          <ac:chgData name="Amandeep Singh" userId="192f9da3-bd5c-42c3-8f41-80b8549e6782" providerId="ADAL" clId="{446EA5A1-8936-4500-BBD5-2705C1BEBC2C}" dt="2021-07-15T21:57:52.610" v="108" actId="1076"/>
          <ac:graphicFrameMkLst>
            <pc:docMk/>
            <pc:sldMk cId="3507116976" sldId="270"/>
            <ac:graphicFrameMk id="7" creationId="{E1DAF2A5-EDFF-415A-BDEB-C482B9AC4525}"/>
          </ac:graphicFrameMkLst>
        </pc:graphicFrameChg>
        <pc:inkChg chg="mod">
          <ac:chgData name="Amandeep Singh" userId="192f9da3-bd5c-42c3-8f41-80b8549e6782" providerId="ADAL" clId="{446EA5A1-8936-4500-BBD5-2705C1BEBC2C}" dt="2021-07-15T21:57:46.013" v="106"/>
          <ac:inkMkLst>
            <pc:docMk/>
            <pc:sldMk cId="3507116976" sldId="270"/>
            <ac:inkMk id="22" creationId="{FD70DD72-2D1B-4677-BFB9-82FAC7D7D6B8}"/>
          </ac:inkMkLst>
        </pc:inkChg>
      </pc:sldChg>
      <pc:sldChg chg="addSp delSp modSp mod">
        <pc:chgData name="Amandeep Singh" userId="192f9da3-bd5c-42c3-8f41-80b8549e6782" providerId="ADAL" clId="{446EA5A1-8936-4500-BBD5-2705C1BEBC2C}" dt="2021-07-15T21:59:11.415" v="126" actId="14100"/>
        <pc:sldMkLst>
          <pc:docMk/>
          <pc:sldMk cId="4059597377" sldId="271"/>
        </pc:sldMkLst>
        <pc:spChg chg="mod">
          <ac:chgData name="Amandeep Singh" userId="192f9da3-bd5c-42c3-8f41-80b8549e6782" providerId="ADAL" clId="{446EA5A1-8936-4500-BBD5-2705C1BEBC2C}" dt="2021-07-15T21:59:05.131" v="123"/>
          <ac:spMkLst>
            <pc:docMk/>
            <pc:sldMk cId="4059597377" sldId="271"/>
            <ac:spMk id="23" creationId="{B9861D18-C92E-4823-B42A-D74942041C7F}"/>
          </ac:spMkLst>
        </pc:spChg>
        <pc:spChg chg="mod">
          <ac:chgData name="Amandeep Singh" userId="192f9da3-bd5c-42c3-8f41-80b8549e6782" providerId="ADAL" clId="{446EA5A1-8936-4500-BBD5-2705C1BEBC2C}" dt="2021-07-15T21:59:05.131" v="123"/>
          <ac:spMkLst>
            <pc:docMk/>
            <pc:sldMk cId="4059597377" sldId="271"/>
            <ac:spMk id="24" creationId="{28781D08-FCE0-4313-B47F-39A0962FAAA2}"/>
          </ac:spMkLst>
        </pc:spChg>
        <pc:spChg chg="mod">
          <ac:chgData name="Amandeep Singh" userId="192f9da3-bd5c-42c3-8f41-80b8549e6782" providerId="ADAL" clId="{446EA5A1-8936-4500-BBD5-2705C1BEBC2C}" dt="2021-07-15T21:59:05.131" v="123"/>
          <ac:spMkLst>
            <pc:docMk/>
            <pc:sldMk cId="4059597377" sldId="271"/>
            <ac:spMk id="25" creationId="{209896A8-948C-46D4-831E-2EA4BFC98A77}"/>
          </ac:spMkLst>
        </pc:spChg>
        <pc:spChg chg="mod">
          <ac:chgData name="Amandeep Singh" userId="192f9da3-bd5c-42c3-8f41-80b8549e6782" providerId="ADAL" clId="{446EA5A1-8936-4500-BBD5-2705C1BEBC2C}" dt="2021-07-15T21:59:05.131" v="123"/>
          <ac:spMkLst>
            <pc:docMk/>
            <pc:sldMk cId="4059597377" sldId="271"/>
            <ac:spMk id="26" creationId="{F2863E65-D1F8-4283-8873-ACCEDC28E33B}"/>
          </ac:spMkLst>
        </pc:spChg>
        <pc:spChg chg="mod">
          <ac:chgData name="Amandeep Singh" userId="192f9da3-bd5c-42c3-8f41-80b8549e6782" providerId="ADAL" clId="{446EA5A1-8936-4500-BBD5-2705C1BEBC2C}" dt="2021-07-15T21:59:05.131" v="123"/>
          <ac:spMkLst>
            <pc:docMk/>
            <pc:sldMk cId="4059597377" sldId="271"/>
            <ac:spMk id="27" creationId="{F05ADD64-90B7-4E83-9A45-0E7E11CD025F}"/>
          </ac:spMkLst>
        </pc:spChg>
        <pc:spChg chg="mod">
          <ac:chgData name="Amandeep Singh" userId="192f9da3-bd5c-42c3-8f41-80b8549e6782" providerId="ADAL" clId="{446EA5A1-8936-4500-BBD5-2705C1BEBC2C}" dt="2021-07-15T21:59:05.131" v="123"/>
          <ac:spMkLst>
            <pc:docMk/>
            <pc:sldMk cId="4059597377" sldId="271"/>
            <ac:spMk id="28" creationId="{C859A6B6-2DC5-4A04-94EB-8E4F4B4728CC}"/>
          </ac:spMkLst>
        </pc:spChg>
        <pc:spChg chg="mod">
          <ac:chgData name="Amandeep Singh" userId="192f9da3-bd5c-42c3-8f41-80b8549e6782" providerId="ADAL" clId="{446EA5A1-8936-4500-BBD5-2705C1BEBC2C}" dt="2021-07-15T21:59:05.131" v="123"/>
          <ac:spMkLst>
            <pc:docMk/>
            <pc:sldMk cId="4059597377" sldId="271"/>
            <ac:spMk id="29" creationId="{256FD789-8149-4618-BE36-697187CDAB67}"/>
          </ac:spMkLst>
        </pc:spChg>
        <pc:spChg chg="mod">
          <ac:chgData name="Amandeep Singh" userId="192f9da3-bd5c-42c3-8f41-80b8549e6782" providerId="ADAL" clId="{446EA5A1-8936-4500-BBD5-2705C1BEBC2C}" dt="2021-07-15T21:59:05.131" v="123"/>
          <ac:spMkLst>
            <pc:docMk/>
            <pc:sldMk cId="4059597377" sldId="271"/>
            <ac:spMk id="30" creationId="{EF12ED59-4DEE-4A73-8B3E-90215BFF87AE}"/>
          </ac:spMkLst>
        </pc:spChg>
        <pc:spChg chg="mod">
          <ac:chgData name="Amandeep Singh" userId="192f9da3-bd5c-42c3-8f41-80b8549e6782" providerId="ADAL" clId="{446EA5A1-8936-4500-BBD5-2705C1BEBC2C}" dt="2021-07-15T21:59:05.131" v="123"/>
          <ac:spMkLst>
            <pc:docMk/>
            <pc:sldMk cId="4059597377" sldId="271"/>
            <ac:spMk id="31" creationId="{75CC84C5-BE19-4D69-9786-6B6168E0DE55}"/>
          </ac:spMkLst>
        </pc:spChg>
        <pc:spChg chg="mod">
          <ac:chgData name="Amandeep Singh" userId="192f9da3-bd5c-42c3-8f41-80b8549e6782" providerId="ADAL" clId="{446EA5A1-8936-4500-BBD5-2705C1BEBC2C}" dt="2021-07-15T21:59:05.131" v="123"/>
          <ac:spMkLst>
            <pc:docMk/>
            <pc:sldMk cId="4059597377" sldId="271"/>
            <ac:spMk id="32" creationId="{4FA73217-A8E5-4691-B7E6-E759E639E8BD}"/>
          </ac:spMkLst>
        </pc:spChg>
        <pc:spChg chg="mod">
          <ac:chgData name="Amandeep Singh" userId="192f9da3-bd5c-42c3-8f41-80b8549e6782" providerId="ADAL" clId="{446EA5A1-8936-4500-BBD5-2705C1BEBC2C}" dt="2021-07-15T21:59:05.131" v="123"/>
          <ac:spMkLst>
            <pc:docMk/>
            <pc:sldMk cId="4059597377" sldId="271"/>
            <ac:spMk id="33" creationId="{9708A28D-A9F0-483C-B0AF-E9DDACE0A5DA}"/>
          </ac:spMkLst>
        </pc:spChg>
        <pc:spChg chg="mod">
          <ac:chgData name="Amandeep Singh" userId="192f9da3-bd5c-42c3-8f41-80b8549e6782" providerId="ADAL" clId="{446EA5A1-8936-4500-BBD5-2705C1BEBC2C}" dt="2021-07-15T21:59:05.131" v="123"/>
          <ac:spMkLst>
            <pc:docMk/>
            <pc:sldMk cId="4059597377" sldId="271"/>
            <ac:spMk id="34" creationId="{9C9DA7D3-F5E8-4661-8F7C-BC2CBBB47F1B}"/>
          </ac:spMkLst>
        </pc:spChg>
        <pc:spChg chg="mod">
          <ac:chgData name="Amandeep Singh" userId="192f9da3-bd5c-42c3-8f41-80b8549e6782" providerId="ADAL" clId="{446EA5A1-8936-4500-BBD5-2705C1BEBC2C}" dt="2021-07-15T21:59:11.415" v="126" actId="14100"/>
          <ac:spMkLst>
            <pc:docMk/>
            <pc:sldMk cId="4059597377" sldId="271"/>
            <ac:spMk id="37" creationId="{C1B9BF59-FD78-4598-AEEA-8D4C555B37D4}"/>
          </ac:spMkLst>
        </pc:spChg>
        <pc:spChg chg="mod">
          <ac:chgData name="Amandeep Singh" userId="192f9da3-bd5c-42c3-8f41-80b8549e6782" providerId="ADAL" clId="{446EA5A1-8936-4500-BBD5-2705C1BEBC2C}" dt="2021-07-15T21:58:57.685" v="121" actId="6549"/>
          <ac:spMkLst>
            <pc:docMk/>
            <pc:sldMk cId="4059597377" sldId="271"/>
            <ac:spMk id="46" creationId="{5C6FD9E3-2736-4A61-8C52-A7A9F4D156F4}"/>
          </ac:spMkLst>
        </pc:spChg>
        <pc:spChg chg="mod">
          <ac:chgData name="Amandeep Singh" userId="192f9da3-bd5c-42c3-8f41-80b8549e6782" providerId="ADAL" clId="{446EA5A1-8936-4500-BBD5-2705C1BEBC2C}" dt="2021-07-15T21:59:05.131" v="123"/>
          <ac:spMkLst>
            <pc:docMk/>
            <pc:sldMk cId="4059597377" sldId="271"/>
            <ac:spMk id="53" creationId="{F300807F-25A9-45AD-BCD1-E2F7C01831FF}"/>
          </ac:spMkLst>
        </pc:spChg>
        <pc:spChg chg="mod">
          <ac:chgData name="Amandeep Singh" userId="192f9da3-bd5c-42c3-8f41-80b8549e6782" providerId="ADAL" clId="{446EA5A1-8936-4500-BBD5-2705C1BEBC2C}" dt="2021-07-15T21:59:05.131" v="123"/>
          <ac:spMkLst>
            <pc:docMk/>
            <pc:sldMk cId="4059597377" sldId="271"/>
            <ac:spMk id="54" creationId="{5DD8A2CF-685F-4744-A0D3-E90F79AC4872}"/>
          </ac:spMkLst>
        </pc:spChg>
        <pc:grpChg chg="add mod">
          <ac:chgData name="Amandeep Singh" userId="192f9da3-bd5c-42c3-8f41-80b8549e6782" providerId="ADAL" clId="{446EA5A1-8936-4500-BBD5-2705C1BEBC2C}" dt="2021-07-15T21:59:05.131" v="123"/>
          <ac:grpSpMkLst>
            <pc:docMk/>
            <pc:sldMk cId="4059597377" sldId="271"/>
            <ac:grpSpMk id="21" creationId="{7CDB3093-07EE-4354-B669-C27F080AF966}"/>
          </ac:grpSpMkLst>
        </pc:grpChg>
        <pc:grpChg chg="del">
          <ac:chgData name="Amandeep Singh" userId="192f9da3-bd5c-42c3-8f41-80b8549e6782" providerId="ADAL" clId="{446EA5A1-8936-4500-BBD5-2705C1BEBC2C}" dt="2021-07-15T21:59:00.536" v="122" actId="478"/>
          <ac:grpSpMkLst>
            <pc:docMk/>
            <pc:sldMk cId="4059597377" sldId="271"/>
            <ac:grpSpMk id="36" creationId="{333F0CF7-85A6-4DD4-9653-A621FEF2F199}"/>
          </ac:grpSpMkLst>
        </pc:grpChg>
        <pc:inkChg chg="mod">
          <ac:chgData name="Amandeep Singh" userId="192f9da3-bd5c-42c3-8f41-80b8549e6782" providerId="ADAL" clId="{446EA5A1-8936-4500-BBD5-2705C1BEBC2C}" dt="2021-07-15T21:59:05.131" v="123"/>
          <ac:inkMkLst>
            <pc:docMk/>
            <pc:sldMk cId="4059597377" sldId="271"/>
            <ac:inkMk id="22" creationId="{CA1F1AF4-8AFF-439E-9C54-CAF6AAE5F2A2}"/>
          </ac:inkMkLst>
        </pc:inkChg>
      </pc:sldChg>
      <pc:sldChg chg="addSp delSp modSp mod">
        <pc:chgData name="Amandeep Singh" userId="192f9da3-bd5c-42c3-8f41-80b8549e6782" providerId="ADAL" clId="{446EA5A1-8936-4500-BBD5-2705C1BEBC2C}" dt="2021-07-15T21:57:15.386" v="104" actId="14100"/>
        <pc:sldMkLst>
          <pc:docMk/>
          <pc:sldMk cId="2059851483" sldId="273"/>
        </pc:sldMkLst>
        <pc:spChg chg="add del mod topLvl">
          <ac:chgData name="Amandeep Singh" userId="192f9da3-bd5c-42c3-8f41-80b8549e6782" providerId="ADAL" clId="{446EA5A1-8936-4500-BBD5-2705C1BEBC2C}" dt="2021-07-15T21:52:43.581" v="58" actId="478"/>
          <ac:spMkLst>
            <pc:docMk/>
            <pc:sldMk cId="2059851483" sldId="273"/>
            <ac:spMk id="2" creationId="{E10135B5-C235-49B0-A918-C63631969516}"/>
          </ac:spMkLst>
        </pc:spChg>
        <pc:spChg chg="mod">
          <ac:chgData name="Amandeep Singh" userId="192f9da3-bd5c-42c3-8f41-80b8549e6782" providerId="ADAL" clId="{446EA5A1-8936-4500-BBD5-2705C1BEBC2C}" dt="2021-07-15T21:55:10.638" v="82" actId="14100"/>
          <ac:spMkLst>
            <pc:docMk/>
            <pc:sldMk cId="2059851483" sldId="273"/>
            <ac:spMk id="9" creationId="{A66935F2-8E41-469A-8E88-951EF09B6BC9}"/>
          </ac:spMkLst>
        </pc:spChg>
        <pc:spChg chg="mod">
          <ac:chgData name="Amandeep Singh" userId="192f9da3-bd5c-42c3-8f41-80b8549e6782" providerId="ADAL" clId="{446EA5A1-8936-4500-BBD5-2705C1BEBC2C}" dt="2021-07-15T21:52:41.255" v="57" actId="108"/>
          <ac:spMkLst>
            <pc:docMk/>
            <pc:sldMk cId="2059851483" sldId="273"/>
            <ac:spMk id="26" creationId="{194AF63F-3647-4A44-B52B-C99A622A32EF}"/>
          </ac:spMkLst>
        </pc:spChg>
        <pc:spChg chg="mod">
          <ac:chgData name="Amandeep Singh" userId="192f9da3-bd5c-42c3-8f41-80b8549e6782" providerId="ADAL" clId="{446EA5A1-8936-4500-BBD5-2705C1BEBC2C}" dt="2021-07-15T21:52:34.416" v="56" actId="108"/>
          <ac:spMkLst>
            <pc:docMk/>
            <pc:sldMk cId="2059851483" sldId="273"/>
            <ac:spMk id="27" creationId="{0399AB62-F3BE-445B-AC33-D214F70A232D}"/>
          </ac:spMkLst>
        </pc:spChg>
        <pc:spChg chg="mod">
          <ac:chgData name="Amandeep Singh" userId="192f9da3-bd5c-42c3-8f41-80b8549e6782" providerId="ADAL" clId="{446EA5A1-8936-4500-BBD5-2705C1BEBC2C}" dt="2021-07-15T21:49:49.500" v="33" actId="108"/>
          <ac:spMkLst>
            <pc:docMk/>
            <pc:sldMk cId="2059851483" sldId="273"/>
            <ac:spMk id="28" creationId="{9C2D1CAF-90F5-43A1-84EF-26661BDE9DD9}"/>
          </ac:spMkLst>
        </pc:spChg>
        <pc:spChg chg="mod">
          <ac:chgData name="Amandeep Singh" userId="192f9da3-bd5c-42c3-8f41-80b8549e6782" providerId="ADAL" clId="{446EA5A1-8936-4500-BBD5-2705C1BEBC2C}" dt="2021-07-15T21:49:47.257" v="32" actId="108"/>
          <ac:spMkLst>
            <pc:docMk/>
            <pc:sldMk cId="2059851483" sldId="273"/>
            <ac:spMk id="29" creationId="{DEB29BB1-08A6-46EF-9BF2-271000A4A2AF}"/>
          </ac:spMkLst>
        </pc:spChg>
        <pc:spChg chg="mod">
          <ac:chgData name="Amandeep Singh" userId="192f9da3-bd5c-42c3-8f41-80b8549e6782" providerId="ADAL" clId="{446EA5A1-8936-4500-BBD5-2705C1BEBC2C}" dt="2021-07-15T21:49:41.598" v="30" actId="108"/>
          <ac:spMkLst>
            <pc:docMk/>
            <pc:sldMk cId="2059851483" sldId="273"/>
            <ac:spMk id="30" creationId="{75BD320F-0355-439E-ACA1-E13EDDE368BD}"/>
          </ac:spMkLst>
        </pc:spChg>
        <pc:spChg chg="mod">
          <ac:chgData name="Amandeep Singh" userId="192f9da3-bd5c-42c3-8f41-80b8549e6782" providerId="ADAL" clId="{446EA5A1-8936-4500-BBD5-2705C1BEBC2C}" dt="2021-07-15T21:49:45.037" v="31" actId="108"/>
          <ac:spMkLst>
            <pc:docMk/>
            <pc:sldMk cId="2059851483" sldId="273"/>
            <ac:spMk id="31" creationId="{02291CD7-7BFC-4413-9746-D665ABD8BB46}"/>
          </ac:spMkLst>
        </pc:spChg>
        <pc:spChg chg="mod">
          <ac:chgData name="Amandeep Singh" userId="192f9da3-bd5c-42c3-8f41-80b8549e6782" providerId="ADAL" clId="{446EA5A1-8936-4500-BBD5-2705C1BEBC2C}" dt="2021-07-15T21:49:32.985" v="29" actId="14100"/>
          <ac:spMkLst>
            <pc:docMk/>
            <pc:sldMk cId="2059851483" sldId="273"/>
            <ac:spMk id="32" creationId="{3DA1A9C1-3D92-4E0C-B842-1162C4CD405A}"/>
          </ac:spMkLst>
        </pc:spChg>
        <pc:spChg chg="mod">
          <ac:chgData name="Amandeep Singh" userId="192f9da3-bd5c-42c3-8f41-80b8549e6782" providerId="ADAL" clId="{446EA5A1-8936-4500-BBD5-2705C1BEBC2C}" dt="2021-07-15T21:46:59.639" v="1"/>
          <ac:spMkLst>
            <pc:docMk/>
            <pc:sldMk cId="2059851483" sldId="273"/>
            <ac:spMk id="33" creationId="{0D537A27-4CCC-4209-8980-4D71E3ACE0F0}"/>
          </ac:spMkLst>
        </pc:spChg>
        <pc:spChg chg="mod">
          <ac:chgData name="Amandeep Singh" userId="192f9da3-bd5c-42c3-8f41-80b8549e6782" providerId="ADAL" clId="{446EA5A1-8936-4500-BBD5-2705C1BEBC2C}" dt="2021-07-15T21:48:24.261" v="17" actId="108"/>
          <ac:spMkLst>
            <pc:docMk/>
            <pc:sldMk cId="2059851483" sldId="273"/>
            <ac:spMk id="34" creationId="{CF0B63D7-14CF-42BF-B0FC-2C4A0614AD99}"/>
          </ac:spMkLst>
        </pc:spChg>
        <pc:spChg chg="mod">
          <ac:chgData name="Amandeep Singh" userId="192f9da3-bd5c-42c3-8f41-80b8549e6782" providerId="ADAL" clId="{446EA5A1-8936-4500-BBD5-2705C1BEBC2C}" dt="2021-07-15T21:48:47.176" v="24" actId="108"/>
          <ac:spMkLst>
            <pc:docMk/>
            <pc:sldMk cId="2059851483" sldId="273"/>
            <ac:spMk id="35" creationId="{C4BB48AD-648E-4E15-AF19-2F8049AADAE9}"/>
          </ac:spMkLst>
        </pc:spChg>
        <pc:spChg chg="mod">
          <ac:chgData name="Amandeep Singh" userId="192f9da3-bd5c-42c3-8f41-80b8549e6782" providerId="ADAL" clId="{446EA5A1-8936-4500-BBD5-2705C1BEBC2C}" dt="2021-07-15T21:48:26.541" v="18" actId="108"/>
          <ac:spMkLst>
            <pc:docMk/>
            <pc:sldMk cId="2059851483" sldId="273"/>
            <ac:spMk id="36" creationId="{95DC035A-9472-4C67-9402-600F1B8490FD}"/>
          </ac:spMkLst>
        </pc:spChg>
        <pc:spChg chg="mod">
          <ac:chgData name="Amandeep Singh" userId="192f9da3-bd5c-42c3-8f41-80b8549e6782" providerId="ADAL" clId="{446EA5A1-8936-4500-BBD5-2705C1BEBC2C}" dt="2021-07-15T21:52:24.741" v="54" actId="108"/>
          <ac:spMkLst>
            <pc:docMk/>
            <pc:sldMk cId="2059851483" sldId="273"/>
            <ac:spMk id="37" creationId="{E1662F1C-B1EF-4F14-ABD8-266A5E4B8289}"/>
          </ac:spMkLst>
        </pc:spChg>
        <pc:spChg chg="mod">
          <ac:chgData name="Amandeep Singh" userId="192f9da3-bd5c-42c3-8f41-80b8549e6782" providerId="ADAL" clId="{446EA5A1-8936-4500-BBD5-2705C1BEBC2C}" dt="2021-07-15T21:47:32.555" v="5" actId="108"/>
          <ac:spMkLst>
            <pc:docMk/>
            <pc:sldMk cId="2059851483" sldId="273"/>
            <ac:spMk id="50" creationId="{A46808B5-F852-4315-8F0C-4C2FB43ABB4E}"/>
          </ac:spMkLst>
        </pc:spChg>
        <pc:spChg chg="mod">
          <ac:chgData name="Amandeep Singh" userId="192f9da3-bd5c-42c3-8f41-80b8549e6782" providerId="ADAL" clId="{446EA5A1-8936-4500-BBD5-2705C1BEBC2C}" dt="2021-07-15T21:52:28.536" v="55" actId="108"/>
          <ac:spMkLst>
            <pc:docMk/>
            <pc:sldMk cId="2059851483" sldId="273"/>
            <ac:spMk id="51" creationId="{C354EE8C-2F38-4EDD-A129-90BD8004E02F}"/>
          </ac:spMkLst>
        </pc:spChg>
        <pc:spChg chg="mod">
          <ac:chgData name="Amandeep Singh" userId="192f9da3-bd5c-42c3-8f41-80b8549e6782" providerId="ADAL" clId="{446EA5A1-8936-4500-BBD5-2705C1BEBC2C}" dt="2021-07-15T21:50:30.381" v="37"/>
          <ac:spMkLst>
            <pc:docMk/>
            <pc:sldMk cId="2059851483" sldId="273"/>
            <ac:spMk id="54" creationId="{199339E7-95AA-4E15-876F-42EDB83381FE}"/>
          </ac:spMkLst>
        </pc:spChg>
        <pc:spChg chg="mod">
          <ac:chgData name="Amandeep Singh" userId="192f9da3-bd5c-42c3-8f41-80b8549e6782" providerId="ADAL" clId="{446EA5A1-8936-4500-BBD5-2705C1BEBC2C}" dt="2021-07-15T21:50:30.381" v="37"/>
          <ac:spMkLst>
            <pc:docMk/>
            <pc:sldMk cId="2059851483" sldId="273"/>
            <ac:spMk id="55" creationId="{0BCCE0E3-17B3-4B98-9F1C-B7769EB45B76}"/>
          </ac:spMkLst>
        </pc:spChg>
        <pc:spChg chg="mod">
          <ac:chgData name="Amandeep Singh" userId="192f9da3-bd5c-42c3-8f41-80b8549e6782" providerId="ADAL" clId="{446EA5A1-8936-4500-BBD5-2705C1BEBC2C}" dt="2021-07-15T21:50:30.381" v="37"/>
          <ac:spMkLst>
            <pc:docMk/>
            <pc:sldMk cId="2059851483" sldId="273"/>
            <ac:spMk id="56" creationId="{392DEECD-1786-4A2D-A8FC-0C9DA65C1A33}"/>
          </ac:spMkLst>
        </pc:spChg>
        <pc:spChg chg="mod">
          <ac:chgData name="Amandeep Singh" userId="192f9da3-bd5c-42c3-8f41-80b8549e6782" providerId="ADAL" clId="{446EA5A1-8936-4500-BBD5-2705C1BEBC2C}" dt="2021-07-15T21:50:30.381" v="37"/>
          <ac:spMkLst>
            <pc:docMk/>
            <pc:sldMk cId="2059851483" sldId="273"/>
            <ac:spMk id="57" creationId="{C78425E5-4E39-44C7-A2F0-6C0DDFC509E0}"/>
          </ac:spMkLst>
        </pc:spChg>
        <pc:spChg chg="mod">
          <ac:chgData name="Amandeep Singh" userId="192f9da3-bd5c-42c3-8f41-80b8549e6782" providerId="ADAL" clId="{446EA5A1-8936-4500-BBD5-2705C1BEBC2C}" dt="2021-07-15T21:50:30.381" v="37"/>
          <ac:spMkLst>
            <pc:docMk/>
            <pc:sldMk cId="2059851483" sldId="273"/>
            <ac:spMk id="58" creationId="{C7648156-2B0A-4832-A6BE-6BBFC47E80F2}"/>
          </ac:spMkLst>
        </pc:spChg>
        <pc:spChg chg="mod">
          <ac:chgData name="Amandeep Singh" userId="192f9da3-bd5c-42c3-8f41-80b8549e6782" providerId="ADAL" clId="{446EA5A1-8936-4500-BBD5-2705C1BEBC2C}" dt="2021-07-15T21:50:30.381" v="37"/>
          <ac:spMkLst>
            <pc:docMk/>
            <pc:sldMk cId="2059851483" sldId="273"/>
            <ac:spMk id="59" creationId="{EC2EC1AD-35C3-4973-9A12-8EAEB349CCB8}"/>
          </ac:spMkLst>
        </pc:spChg>
        <pc:spChg chg="mod">
          <ac:chgData name="Amandeep Singh" userId="192f9da3-bd5c-42c3-8f41-80b8549e6782" providerId="ADAL" clId="{446EA5A1-8936-4500-BBD5-2705C1BEBC2C}" dt="2021-07-15T21:50:30.381" v="37"/>
          <ac:spMkLst>
            <pc:docMk/>
            <pc:sldMk cId="2059851483" sldId="273"/>
            <ac:spMk id="60" creationId="{629091DD-6789-45C2-85B9-0F2341681F85}"/>
          </ac:spMkLst>
        </pc:spChg>
        <pc:spChg chg="mod">
          <ac:chgData name="Amandeep Singh" userId="192f9da3-bd5c-42c3-8f41-80b8549e6782" providerId="ADAL" clId="{446EA5A1-8936-4500-BBD5-2705C1BEBC2C}" dt="2021-07-15T21:50:30.381" v="37"/>
          <ac:spMkLst>
            <pc:docMk/>
            <pc:sldMk cId="2059851483" sldId="273"/>
            <ac:spMk id="61" creationId="{7E0939BD-E7DB-48E1-A90F-F8E19A89BE26}"/>
          </ac:spMkLst>
        </pc:spChg>
        <pc:spChg chg="mod">
          <ac:chgData name="Amandeep Singh" userId="192f9da3-bd5c-42c3-8f41-80b8549e6782" providerId="ADAL" clId="{446EA5A1-8936-4500-BBD5-2705C1BEBC2C}" dt="2021-07-15T21:50:30.381" v="37"/>
          <ac:spMkLst>
            <pc:docMk/>
            <pc:sldMk cId="2059851483" sldId="273"/>
            <ac:spMk id="62" creationId="{6F8D8E01-144E-465D-9665-250DD91C9B8D}"/>
          </ac:spMkLst>
        </pc:spChg>
        <pc:spChg chg="mod">
          <ac:chgData name="Amandeep Singh" userId="192f9da3-bd5c-42c3-8f41-80b8549e6782" providerId="ADAL" clId="{446EA5A1-8936-4500-BBD5-2705C1BEBC2C}" dt="2021-07-15T21:50:30.381" v="37"/>
          <ac:spMkLst>
            <pc:docMk/>
            <pc:sldMk cId="2059851483" sldId="273"/>
            <ac:spMk id="63" creationId="{0AD100FF-CD34-4672-A809-6C480ED53017}"/>
          </ac:spMkLst>
        </pc:spChg>
        <pc:spChg chg="mod">
          <ac:chgData name="Amandeep Singh" userId="192f9da3-bd5c-42c3-8f41-80b8549e6782" providerId="ADAL" clId="{446EA5A1-8936-4500-BBD5-2705C1BEBC2C}" dt="2021-07-15T21:50:30.381" v="37"/>
          <ac:spMkLst>
            <pc:docMk/>
            <pc:sldMk cId="2059851483" sldId="273"/>
            <ac:spMk id="64" creationId="{1A9BC94E-72E4-4E37-89F8-644A000955B4}"/>
          </ac:spMkLst>
        </pc:spChg>
        <pc:spChg chg="mod">
          <ac:chgData name="Amandeep Singh" userId="192f9da3-bd5c-42c3-8f41-80b8549e6782" providerId="ADAL" clId="{446EA5A1-8936-4500-BBD5-2705C1BEBC2C}" dt="2021-07-15T21:50:30.381" v="37"/>
          <ac:spMkLst>
            <pc:docMk/>
            <pc:sldMk cId="2059851483" sldId="273"/>
            <ac:spMk id="65" creationId="{B3852607-3765-4852-9E76-72528022554A}"/>
          </ac:spMkLst>
        </pc:spChg>
        <pc:spChg chg="mod">
          <ac:chgData name="Amandeep Singh" userId="192f9da3-bd5c-42c3-8f41-80b8549e6782" providerId="ADAL" clId="{446EA5A1-8936-4500-BBD5-2705C1BEBC2C}" dt="2021-07-15T21:50:30.381" v="37"/>
          <ac:spMkLst>
            <pc:docMk/>
            <pc:sldMk cId="2059851483" sldId="273"/>
            <ac:spMk id="66" creationId="{13DFA56B-110B-40B1-B1B4-D476149A71F7}"/>
          </ac:spMkLst>
        </pc:spChg>
        <pc:spChg chg="mod">
          <ac:chgData name="Amandeep Singh" userId="192f9da3-bd5c-42c3-8f41-80b8549e6782" providerId="ADAL" clId="{446EA5A1-8936-4500-BBD5-2705C1BEBC2C}" dt="2021-07-15T21:50:30.381" v="37"/>
          <ac:spMkLst>
            <pc:docMk/>
            <pc:sldMk cId="2059851483" sldId="273"/>
            <ac:spMk id="67" creationId="{2C4442DF-EB64-4A9B-8945-58205558D88F}"/>
          </ac:spMkLst>
        </pc:spChg>
        <pc:spChg chg="mod">
          <ac:chgData name="Amandeep Singh" userId="192f9da3-bd5c-42c3-8f41-80b8549e6782" providerId="ADAL" clId="{446EA5A1-8936-4500-BBD5-2705C1BEBC2C}" dt="2021-07-15T21:50:43.618" v="39"/>
          <ac:spMkLst>
            <pc:docMk/>
            <pc:sldMk cId="2059851483" sldId="273"/>
            <ac:spMk id="70" creationId="{9B0613E2-8162-45E1-8C9A-BBD712833ED1}"/>
          </ac:spMkLst>
        </pc:spChg>
        <pc:spChg chg="mod">
          <ac:chgData name="Amandeep Singh" userId="192f9da3-bd5c-42c3-8f41-80b8549e6782" providerId="ADAL" clId="{446EA5A1-8936-4500-BBD5-2705C1BEBC2C}" dt="2021-07-15T21:50:43.618" v="39"/>
          <ac:spMkLst>
            <pc:docMk/>
            <pc:sldMk cId="2059851483" sldId="273"/>
            <ac:spMk id="71" creationId="{ED32ED93-BB1D-4084-86C9-85D9398B0120}"/>
          </ac:spMkLst>
        </pc:spChg>
        <pc:spChg chg="mod">
          <ac:chgData name="Amandeep Singh" userId="192f9da3-bd5c-42c3-8f41-80b8549e6782" providerId="ADAL" clId="{446EA5A1-8936-4500-BBD5-2705C1BEBC2C}" dt="2021-07-15T21:50:43.618" v="39"/>
          <ac:spMkLst>
            <pc:docMk/>
            <pc:sldMk cId="2059851483" sldId="273"/>
            <ac:spMk id="72" creationId="{A3D8898A-3EBD-453E-8CDB-6E21B940ABB7}"/>
          </ac:spMkLst>
        </pc:spChg>
        <pc:spChg chg="mod">
          <ac:chgData name="Amandeep Singh" userId="192f9da3-bd5c-42c3-8f41-80b8549e6782" providerId="ADAL" clId="{446EA5A1-8936-4500-BBD5-2705C1BEBC2C}" dt="2021-07-15T21:50:43.618" v="39"/>
          <ac:spMkLst>
            <pc:docMk/>
            <pc:sldMk cId="2059851483" sldId="273"/>
            <ac:spMk id="73" creationId="{76DDD8DB-613A-4A49-ABDF-B494BC94CD03}"/>
          </ac:spMkLst>
        </pc:spChg>
        <pc:spChg chg="mod">
          <ac:chgData name="Amandeep Singh" userId="192f9da3-bd5c-42c3-8f41-80b8549e6782" providerId="ADAL" clId="{446EA5A1-8936-4500-BBD5-2705C1BEBC2C}" dt="2021-07-15T21:50:43.618" v="39"/>
          <ac:spMkLst>
            <pc:docMk/>
            <pc:sldMk cId="2059851483" sldId="273"/>
            <ac:spMk id="74" creationId="{D1BF8C52-7F21-4DF7-B08F-7E690E192AFB}"/>
          </ac:spMkLst>
        </pc:spChg>
        <pc:spChg chg="mod">
          <ac:chgData name="Amandeep Singh" userId="192f9da3-bd5c-42c3-8f41-80b8549e6782" providerId="ADAL" clId="{446EA5A1-8936-4500-BBD5-2705C1BEBC2C}" dt="2021-07-15T21:50:43.618" v="39"/>
          <ac:spMkLst>
            <pc:docMk/>
            <pc:sldMk cId="2059851483" sldId="273"/>
            <ac:spMk id="75" creationId="{D6A9FB63-9D24-4C49-B669-FADA5B55D30D}"/>
          </ac:spMkLst>
        </pc:spChg>
        <pc:spChg chg="mod">
          <ac:chgData name="Amandeep Singh" userId="192f9da3-bd5c-42c3-8f41-80b8549e6782" providerId="ADAL" clId="{446EA5A1-8936-4500-BBD5-2705C1BEBC2C}" dt="2021-07-15T21:50:43.618" v="39"/>
          <ac:spMkLst>
            <pc:docMk/>
            <pc:sldMk cId="2059851483" sldId="273"/>
            <ac:spMk id="76" creationId="{B50E2F9D-6B42-4CB7-9C85-C7240BE0A638}"/>
          </ac:spMkLst>
        </pc:spChg>
        <pc:spChg chg="mod">
          <ac:chgData name="Amandeep Singh" userId="192f9da3-bd5c-42c3-8f41-80b8549e6782" providerId="ADAL" clId="{446EA5A1-8936-4500-BBD5-2705C1BEBC2C}" dt="2021-07-15T21:50:43.618" v="39"/>
          <ac:spMkLst>
            <pc:docMk/>
            <pc:sldMk cId="2059851483" sldId="273"/>
            <ac:spMk id="77" creationId="{D9A2A0F0-7627-4F89-AB56-4B37D11FC7A8}"/>
          </ac:spMkLst>
        </pc:spChg>
        <pc:spChg chg="mod">
          <ac:chgData name="Amandeep Singh" userId="192f9da3-bd5c-42c3-8f41-80b8549e6782" providerId="ADAL" clId="{446EA5A1-8936-4500-BBD5-2705C1BEBC2C}" dt="2021-07-15T21:50:43.618" v="39"/>
          <ac:spMkLst>
            <pc:docMk/>
            <pc:sldMk cId="2059851483" sldId="273"/>
            <ac:spMk id="78" creationId="{5F9BB075-D702-414F-B5DC-40D3D1321D82}"/>
          </ac:spMkLst>
        </pc:spChg>
        <pc:spChg chg="mod">
          <ac:chgData name="Amandeep Singh" userId="192f9da3-bd5c-42c3-8f41-80b8549e6782" providerId="ADAL" clId="{446EA5A1-8936-4500-BBD5-2705C1BEBC2C}" dt="2021-07-15T21:50:43.618" v="39"/>
          <ac:spMkLst>
            <pc:docMk/>
            <pc:sldMk cId="2059851483" sldId="273"/>
            <ac:spMk id="79" creationId="{9E09C013-D9A9-493D-922B-217EEEFEB754}"/>
          </ac:spMkLst>
        </pc:spChg>
        <pc:spChg chg="mod">
          <ac:chgData name="Amandeep Singh" userId="192f9da3-bd5c-42c3-8f41-80b8549e6782" providerId="ADAL" clId="{446EA5A1-8936-4500-BBD5-2705C1BEBC2C}" dt="2021-07-15T21:50:43.618" v="39"/>
          <ac:spMkLst>
            <pc:docMk/>
            <pc:sldMk cId="2059851483" sldId="273"/>
            <ac:spMk id="80" creationId="{B796979E-060E-421C-8118-25A5705009EF}"/>
          </ac:spMkLst>
        </pc:spChg>
        <pc:spChg chg="mod">
          <ac:chgData name="Amandeep Singh" userId="192f9da3-bd5c-42c3-8f41-80b8549e6782" providerId="ADAL" clId="{446EA5A1-8936-4500-BBD5-2705C1BEBC2C}" dt="2021-07-15T21:51:32.730" v="46" actId="1076"/>
          <ac:spMkLst>
            <pc:docMk/>
            <pc:sldMk cId="2059851483" sldId="273"/>
            <ac:spMk id="81" creationId="{4F855445-5D25-4362-A775-B9BCF1C7F5FB}"/>
          </ac:spMkLst>
        </pc:spChg>
        <pc:spChg chg="mod">
          <ac:chgData name="Amandeep Singh" userId="192f9da3-bd5c-42c3-8f41-80b8549e6782" providerId="ADAL" clId="{446EA5A1-8936-4500-BBD5-2705C1BEBC2C}" dt="2021-07-15T21:50:43.618" v="39"/>
          <ac:spMkLst>
            <pc:docMk/>
            <pc:sldMk cId="2059851483" sldId="273"/>
            <ac:spMk id="82" creationId="{C653181C-54EE-4C43-B1CE-97F9127DE4CB}"/>
          </ac:spMkLst>
        </pc:spChg>
        <pc:spChg chg="mod">
          <ac:chgData name="Amandeep Singh" userId="192f9da3-bd5c-42c3-8f41-80b8549e6782" providerId="ADAL" clId="{446EA5A1-8936-4500-BBD5-2705C1BEBC2C}" dt="2021-07-15T21:50:43.618" v="39"/>
          <ac:spMkLst>
            <pc:docMk/>
            <pc:sldMk cId="2059851483" sldId="273"/>
            <ac:spMk id="83" creationId="{8BB8679E-452B-4660-9320-057E2F17BF23}"/>
          </ac:spMkLst>
        </pc:spChg>
        <pc:spChg chg="mod">
          <ac:chgData name="Amandeep Singh" userId="192f9da3-bd5c-42c3-8f41-80b8549e6782" providerId="ADAL" clId="{446EA5A1-8936-4500-BBD5-2705C1BEBC2C}" dt="2021-07-15T21:54:54.326" v="78"/>
          <ac:spMkLst>
            <pc:docMk/>
            <pc:sldMk cId="2059851483" sldId="273"/>
            <ac:spMk id="87" creationId="{C8573E8F-694E-471E-99BF-F6E26AB2DFB6}"/>
          </ac:spMkLst>
        </pc:spChg>
        <pc:spChg chg="mod">
          <ac:chgData name="Amandeep Singh" userId="192f9da3-bd5c-42c3-8f41-80b8549e6782" providerId="ADAL" clId="{446EA5A1-8936-4500-BBD5-2705C1BEBC2C}" dt="2021-07-15T21:54:54.326" v="78"/>
          <ac:spMkLst>
            <pc:docMk/>
            <pc:sldMk cId="2059851483" sldId="273"/>
            <ac:spMk id="88" creationId="{01AE8847-3EBF-4FF8-8ACC-C9927FE3CBB2}"/>
          </ac:spMkLst>
        </pc:spChg>
        <pc:spChg chg="mod">
          <ac:chgData name="Amandeep Singh" userId="192f9da3-bd5c-42c3-8f41-80b8549e6782" providerId="ADAL" clId="{446EA5A1-8936-4500-BBD5-2705C1BEBC2C}" dt="2021-07-15T21:55:07.240" v="81" actId="108"/>
          <ac:spMkLst>
            <pc:docMk/>
            <pc:sldMk cId="2059851483" sldId="273"/>
            <ac:spMk id="89" creationId="{009A4432-27D4-458A-876E-B77D4DF3FCED}"/>
          </ac:spMkLst>
        </pc:spChg>
        <pc:spChg chg="mod">
          <ac:chgData name="Amandeep Singh" userId="192f9da3-bd5c-42c3-8f41-80b8549e6782" providerId="ADAL" clId="{446EA5A1-8936-4500-BBD5-2705C1BEBC2C}" dt="2021-07-15T21:54:54.326" v="78"/>
          <ac:spMkLst>
            <pc:docMk/>
            <pc:sldMk cId="2059851483" sldId="273"/>
            <ac:spMk id="90" creationId="{D449595B-113D-42EB-ADB1-EF35A5FC0B60}"/>
          </ac:spMkLst>
        </pc:spChg>
        <pc:spChg chg="mod">
          <ac:chgData name="Amandeep Singh" userId="192f9da3-bd5c-42c3-8f41-80b8549e6782" providerId="ADAL" clId="{446EA5A1-8936-4500-BBD5-2705C1BEBC2C}" dt="2021-07-15T21:54:54.326" v="78"/>
          <ac:spMkLst>
            <pc:docMk/>
            <pc:sldMk cId="2059851483" sldId="273"/>
            <ac:spMk id="91" creationId="{A0B82B81-E36F-4D3C-8ED4-197986A56C44}"/>
          </ac:spMkLst>
        </pc:spChg>
        <pc:spChg chg="mod">
          <ac:chgData name="Amandeep Singh" userId="192f9da3-bd5c-42c3-8f41-80b8549e6782" providerId="ADAL" clId="{446EA5A1-8936-4500-BBD5-2705C1BEBC2C}" dt="2021-07-15T21:54:54.326" v="78"/>
          <ac:spMkLst>
            <pc:docMk/>
            <pc:sldMk cId="2059851483" sldId="273"/>
            <ac:spMk id="92" creationId="{04F2E76D-BEFA-4E89-8C77-0BF91A5A576C}"/>
          </ac:spMkLst>
        </pc:spChg>
        <pc:spChg chg="mod">
          <ac:chgData name="Amandeep Singh" userId="192f9da3-bd5c-42c3-8f41-80b8549e6782" providerId="ADAL" clId="{446EA5A1-8936-4500-BBD5-2705C1BEBC2C}" dt="2021-07-15T21:54:54.326" v="78"/>
          <ac:spMkLst>
            <pc:docMk/>
            <pc:sldMk cId="2059851483" sldId="273"/>
            <ac:spMk id="93" creationId="{DB6DED6F-757E-47D6-83E6-7274ABC430A1}"/>
          </ac:spMkLst>
        </pc:spChg>
        <pc:spChg chg="mod">
          <ac:chgData name="Amandeep Singh" userId="192f9da3-bd5c-42c3-8f41-80b8549e6782" providerId="ADAL" clId="{446EA5A1-8936-4500-BBD5-2705C1BEBC2C}" dt="2021-07-15T21:55:03.661" v="80" actId="108"/>
          <ac:spMkLst>
            <pc:docMk/>
            <pc:sldMk cId="2059851483" sldId="273"/>
            <ac:spMk id="94" creationId="{E9949059-B170-4A58-B51A-7619C222A032}"/>
          </ac:spMkLst>
        </pc:spChg>
        <pc:spChg chg="mod">
          <ac:chgData name="Amandeep Singh" userId="192f9da3-bd5c-42c3-8f41-80b8549e6782" providerId="ADAL" clId="{446EA5A1-8936-4500-BBD5-2705C1BEBC2C}" dt="2021-07-15T21:54:54.326" v="78"/>
          <ac:spMkLst>
            <pc:docMk/>
            <pc:sldMk cId="2059851483" sldId="273"/>
            <ac:spMk id="95" creationId="{6A339F39-FD92-4F3A-B575-655A373BFFC9}"/>
          </ac:spMkLst>
        </pc:spChg>
        <pc:spChg chg="mod">
          <ac:chgData name="Amandeep Singh" userId="192f9da3-bd5c-42c3-8f41-80b8549e6782" providerId="ADAL" clId="{446EA5A1-8936-4500-BBD5-2705C1BEBC2C}" dt="2021-07-15T21:54:54.326" v="78"/>
          <ac:spMkLst>
            <pc:docMk/>
            <pc:sldMk cId="2059851483" sldId="273"/>
            <ac:spMk id="96" creationId="{65F34D04-D4EF-40EC-A6C5-1CFEB3FF9D24}"/>
          </ac:spMkLst>
        </pc:spChg>
        <pc:spChg chg="mod">
          <ac:chgData name="Amandeep Singh" userId="192f9da3-bd5c-42c3-8f41-80b8549e6782" providerId="ADAL" clId="{446EA5A1-8936-4500-BBD5-2705C1BEBC2C}" dt="2021-07-15T21:54:54.326" v="78"/>
          <ac:spMkLst>
            <pc:docMk/>
            <pc:sldMk cId="2059851483" sldId="273"/>
            <ac:spMk id="97" creationId="{5E473D54-83F8-42B2-9CFB-5FDE38A4962B}"/>
          </ac:spMkLst>
        </pc:spChg>
        <pc:spChg chg="mod">
          <ac:chgData name="Amandeep Singh" userId="192f9da3-bd5c-42c3-8f41-80b8549e6782" providerId="ADAL" clId="{446EA5A1-8936-4500-BBD5-2705C1BEBC2C}" dt="2021-07-15T21:54:54.326" v="78"/>
          <ac:spMkLst>
            <pc:docMk/>
            <pc:sldMk cId="2059851483" sldId="273"/>
            <ac:spMk id="98" creationId="{A8CD35C1-F59D-400F-96DC-D0CDC4409F09}"/>
          </ac:spMkLst>
        </pc:spChg>
        <pc:spChg chg="mod">
          <ac:chgData name="Amandeep Singh" userId="192f9da3-bd5c-42c3-8f41-80b8549e6782" providerId="ADAL" clId="{446EA5A1-8936-4500-BBD5-2705C1BEBC2C}" dt="2021-07-15T21:57:15.386" v="104" actId="14100"/>
          <ac:spMkLst>
            <pc:docMk/>
            <pc:sldMk cId="2059851483" sldId="273"/>
            <ac:spMk id="99" creationId="{C6F396F1-7080-4583-97FE-66C9FD03346F}"/>
          </ac:spMkLst>
        </pc:spChg>
        <pc:spChg chg="mod">
          <ac:chgData name="Amandeep Singh" userId="192f9da3-bd5c-42c3-8f41-80b8549e6782" providerId="ADAL" clId="{446EA5A1-8936-4500-BBD5-2705C1BEBC2C}" dt="2021-07-15T21:54:54.326" v="78"/>
          <ac:spMkLst>
            <pc:docMk/>
            <pc:sldMk cId="2059851483" sldId="273"/>
            <ac:spMk id="100" creationId="{35DDEBA5-953E-488D-A7D9-163C5BE77902}"/>
          </ac:spMkLst>
        </pc:spChg>
        <pc:grpChg chg="add del">
          <ac:chgData name="Amandeep Singh" userId="192f9da3-bd5c-42c3-8f41-80b8549e6782" providerId="ADAL" clId="{446EA5A1-8936-4500-BBD5-2705C1BEBC2C}" dt="2021-07-15T21:52:43.581" v="58" actId="478"/>
          <ac:grpSpMkLst>
            <pc:docMk/>
            <pc:sldMk cId="2059851483" sldId="273"/>
            <ac:grpSpMk id="3" creationId="{5E7A466F-224A-4321-A25E-F37C92B6E865}"/>
          </ac:grpSpMkLst>
        </pc:grpChg>
        <pc:grpChg chg="del">
          <ac:chgData name="Amandeep Singh" userId="192f9da3-bd5c-42c3-8f41-80b8549e6782" providerId="ADAL" clId="{446EA5A1-8936-4500-BBD5-2705C1BEBC2C}" dt="2021-07-15T21:47:36.265" v="6" actId="478"/>
          <ac:grpSpMkLst>
            <pc:docMk/>
            <pc:sldMk cId="2059851483" sldId="273"/>
            <ac:grpSpMk id="20" creationId="{3051A7A1-71C7-4F4D-9F67-F4D0737B2AEA}"/>
          </ac:grpSpMkLst>
        </pc:grpChg>
        <pc:grpChg chg="add del mod topLvl">
          <ac:chgData name="Amandeep Singh" userId="192f9da3-bd5c-42c3-8f41-80b8549e6782" providerId="ADAL" clId="{446EA5A1-8936-4500-BBD5-2705C1BEBC2C}" dt="2021-07-15T21:54:53.281" v="77" actId="478"/>
          <ac:grpSpMkLst>
            <pc:docMk/>
            <pc:sldMk cId="2059851483" sldId="273"/>
            <ac:grpSpMk id="24" creationId="{B80107A1-03D4-40E2-90A1-FF35EB48FE9A}"/>
          </ac:grpSpMkLst>
        </pc:grpChg>
        <pc:grpChg chg="add del mod">
          <ac:chgData name="Amandeep Singh" userId="192f9da3-bd5c-42c3-8f41-80b8549e6782" providerId="ADAL" clId="{446EA5A1-8936-4500-BBD5-2705C1BEBC2C}" dt="2021-07-15T21:50:34.005" v="38" actId="478"/>
          <ac:grpSpMkLst>
            <pc:docMk/>
            <pc:sldMk cId="2059851483" sldId="273"/>
            <ac:grpSpMk id="52" creationId="{ACFA3087-3940-4372-90FB-7C69C1041643}"/>
          </ac:grpSpMkLst>
        </pc:grpChg>
        <pc:grpChg chg="add del mod">
          <ac:chgData name="Amandeep Singh" userId="192f9da3-bd5c-42c3-8f41-80b8549e6782" providerId="ADAL" clId="{446EA5A1-8936-4500-BBD5-2705C1BEBC2C}" dt="2021-07-15T21:52:10.647" v="52" actId="478"/>
          <ac:grpSpMkLst>
            <pc:docMk/>
            <pc:sldMk cId="2059851483" sldId="273"/>
            <ac:grpSpMk id="68" creationId="{2FD51634-9DED-4CC9-96EC-20350E8C52E1}"/>
          </ac:grpSpMkLst>
        </pc:grpChg>
        <pc:grpChg chg="add mod">
          <ac:chgData name="Amandeep Singh" userId="192f9da3-bd5c-42c3-8f41-80b8549e6782" providerId="ADAL" clId="{446EA5A1-8936-4500-BBD5-2705C1BEBC2C}" dt="2021-07-15T21:54:58.297" v="79" actId="14100"/>
          <ac:grpSpMkLst>
            <pc:docMk/>
            <pc:sldMk cId="2059851483" sldId="273"/>
            <ac:grpSpMk id="85" creationId="{C7A80BF5-71A3-4003-8B48-42845A4EC048}"/>
          </ac:grpSpMkLst>
        </pc:grpChg>
        <pc:inkChg chg="mod">
          <ac:chgData name="Amandeep Singh" userId="192f9da3-bd5c-42c3-8f41-80b8549e6782" providerId="ADAL" clId="{446EA5A1-8936-4500-BBD5-2705C1BEBC2C}" dt="2021-07-15T21:46:59.639" v="1"/>
          <ac:inkMkLst>
            <pc:docMk/>
            <pc:sldMk cId="2059851483" sldId="273"/>
            <ac:inkMk id="25" creationId="{B154C711-30EE-4375-94C7-59A3F5164217}"/>
          </ac:inkMkLst>
        </pc:inkChg>
        <pc:inkChg chg="mod">
          <ac:chgData name="Amandeep Singh" userId="192f9da3-bd5c-42c3-8f41-80b8549e6782" providerId="ADAL" clId="{446EA5A1-8936-4500-BBD5-2705C1BEBC2C}" dt="2021-07-15T21:50:30.381" v="37"/>
          <ac:inkMkLst>
            <pc:docMk/>
            <pc:sldMk cId="2059851483" sldId="273"/>
            <ac:inkMk id="53" creationId="{BD146210-4830-4421-8CD1-EB80ED0262E9}"/>
          </ac:inkMkLst>
        </pc:inkChg>
        <pc:inkChg chg="mod">
          <ac:chgData name="Amandeep Singh" userId="192f9da3-bd5c-42c3-8f41-80b8549e6782" providerId="ADAL" clId="{446EA5A1-8936-4500-BBD5-2705C1BEBC2C}" dt="2021-07-15T21:50:43.618" v="39"/>
          <ac:inkMkLst>
            <pc:docMk/>
            <pc:sldMk cId="2059851483" sldId="273"/>
            <ac:inkMk id="69" creationId="{8B3248EB-8F60-421A-A7E1-19281A45ED15}"/>
          </ac:inkMkLst>
        </pc:inkChg>
        <pc:inkChg chg="mod">
          <ac:chgData name="Amandeep Singh" userId="192f9da3-bd5c-42c3-8f41-80b8549e6782" providerId="ADAL" clId="{446EA5A1-8936-4500-BBD5-2705C1BEBC2C}" dt="2021-07-15T21:54:54.326" v="78"/>
          <ac:inkMkLst>
            <pc:docMk/>
            <pc:sldMk cId="2059851483" sldId="273"/>
            <ac:inkMk id="86" creationId="{8545A7E0-9821-4D1B-A8B2-B020E60CCD3E}"/>
          </ac:inkMkLst>
        </pc:inkChg>
      </pc:sldChg>
      <pc:sldChg chg="addSp delSp modSp mod">
        <pc:chgData name="Amandeep Singh" userId="192f9da3-bd5c-42c3-8f41-80b8549e6782" providerId="ADAL" clId="{446EA5A1-8936-4500-BBD5-2705C1BEBC2C}" dt="2021-07-15T22:01:35.639" v="152" actId="108"/>
        <pc:sldMkLst>
          <pc:docMk/>
          <pc:sldMk cId="4136490571" sldId="274"/>
        </pc:sldMkLst>
        <pc:spChg chg="mod">
          <ac:chgData name="Amandeep Singh" userId="192f9da3-bd5c-42c3-8f41-80b8549e6782" providerId="ADAL" clId="{446EA5A1-8936-4500-BBD5-2705C1BEBC2C}" dt="2021-07-15T22:01:18.591" v="148" actId="1076"/>
          <ac:spMkLst>
            <pc:docMk/>
            <pc:sldMk cId="4136490571" sldId="274"/>
            <ac:spMk id="22" creationId="{0962B694-87F7-4581-BAB5-1B9542FBA284}"/>
          </ac:spMkLst>
        </pc:spChg>
        <pc:spChg chg="mod">
          <ac:chgData name="Amandeep Singh" userId="192f9da3-bd5c-42c3-8f41-80b8549e6782" providerId="ADAL" clId="{446EA5A1-8936-4500-BBD5-2705C1BEBC2C}" dt="2021-07-15T22:01:06.811" v="145"/>
          <ac:spMkLst>
            <pc:docMk/>
            <pc:sldMk cId="4136490571" sldId="274"/>
            <ac:spMk id="25" creationId="{6919E124-F1B6-4F8D-8A1F-9BFDE30351C5}"/>
          </ac:spMkLst>
        </pc:spChg>
        <pc:spChg chg="mod">
          <ac:chgData name="Amandeep Singh" userId="192f9da3-bd5c-42c3-8f41-80b8549e6782" providerId="ADAL" clId="{446EA5A1-8936-4500-BBD5-2705C1BEBC2C}" dt="2021-07-15T22:01:06.811" v="145"/>
          <ac:spMkLst>
            <pc:docMk/>
            <pc:sldMk cId="4136490571" sldId="274"/>
            <ac:spMk id="26" creationId="{D4109105-0440-4597-8736-3B59BF9F69A8}"/>
          </ac:spMkLst>
        </pc:spChg>
        <pc:spChg chg="mod">
          <ac:chgData name="Amandeep Singh" userId="192f9da3-bd5c-42c3-8f41-80b8549e6782" providerId="ADAL" clId="{446EA5A1-8936-4500-BBD5-2705C1BEBC2C}" dt="2021-07-15T22:01:06.811" v="145"/>
          <ac:spMkLst>
            <pc:docMk/>
            <pc:sldMk cId="4136490571" sldId="274"/>
            <ac:spMk id="27" creationId="{0AD33CB5-BF90-4B34-81F2-91B798E5D9A0}"/>
          </ac:spMkLst>
        </pc:spChg>
        <pc:spChg chg="mod">
          <ac:chgData name="Amandeep Singh" userId="192f9da3-bd5c-42c3-8f41-80b8549e6782" providerId="ADAL" clId="{446EA5A1-8936-4500-BBD5-2705C1BEBC2C}" dt="2021-07-15T22:01:06.811" v="145"/>
          <ac:spMkLst>
            <pc:docMk/>
            <pc:sldMk cId="4136490571" sldId="274"/>
            <ac:spMk id="28" creationId="{261C3199-214C-48FD-9507-E43FE8DC62B5}"/>
          </ac:spMkLst>
        </pc:spChg>
        <pc:spChg chg="mod">
          <ac:chgData name="Amandeep Singh" userId="192f9da3-bd5c-42c3-8f41-80b8549e6782" providerId="ADAL" clId="{446EA5A1-8936-4500-BBD5-2705C1BEBC2C}" dt="2021-07-15T22:01:35.639" v="152" actId="108"/>
          <ac:spMkLst>
            <pc:docMk/>
            <pc:sldMk cId="4136490571" sldId="274"/>
            <ac:spMk id="29" creationId="{A90904CC-116F-4F1A-A291-5D8879FA2AEF}"/>
          </ac:spMkLst>
        </pc:spChg>
        <pc:spChg chg="mod">
          <ac:chgData name="Amandeep Singh" userId="192f9da3-bd5c-42c3-8f41-80b8549e6782" providerId="ADAL" clId="{446EA5A1-8936-4500-BBD5-2705C1BEBC2C}" dt="2021-07-15T22:01:06.811" v="145"/>
          <ac:spMkLst>
            <pc:docMk/>
            <pc:sldMk cId="4136490571" sldId="274"/>
            <ac:spMk id="30" creationId="{5DB43D16-58BE-447C-9B98-A905188C9703}"/>
          </ac:spMkLst>
        </pc:spChg>
        <pc:spChg chg="mod">
          <ac:chgData name="Amandeep Singh" userId="192f9da3-bd5c-42c3-8f41-80b8549e6782" providerId="ADAL" clId="{446EA5A1-8936-4500-BBD5-2705C1BEBC2C}" dt="2021-07-15T22:01:32.700" v="151" actId="108"/>
          <ac:spMkLst>
            <pc:docMk/>
            <pc:sldMk cId="4136490571" sldId="274"/>
            <ac:spMk id="31" creationId="{D879ADCA-2BE6-40E6-9BC9-718DD7D009F2}"/>
          </ac:spMkLst>
        </pc:spChg>
        <pc:spChg chg="mod">
          <ac:chgData name="Amandeep Singh" userId="192f9da3-bd5c-42c3-8f41-80b8549e6782" providerId="ADAL" clId="{446EA5A1-8936-4500-BBD5-2705C1BEBC2C}" dt="2021-07-15T22:01:06.811" v="145"/>
          <ac:spMkLst>
            <pc:docMk/>
            <pc:sldMk cId="4136490571" sldId="274"/>
            <ac:spMk id="32" creationId="{2C79F5EC-6435-4F93-81CE-2B8959E8727F}"/>
          </ac:spMkLst>
        </pc:spChg>
        <pc:spChg chg="mod">
          <ac:chgData name="Amandeep Singh" userId="192f9da3-bd5c-42c3-8f41-80b8549e6782" providerId="ADAL" clId="{446EA5A1-8936-4500-BBD5-2705C1BEBC2C}" dt="2021-07-15T22:01:06.811" v="145"/>
          <ac:spMkLst>
            <pc:docMk/>
            <pc:sldMk cId="4136490571" sldId="274"/>
            <ac:spMk id="33" creationId="{A94FFFBD-CA1E-45F9-B122-73926ADAA32F}"/>
          </ac:spMkLst>
        </pc:spChg>
        <pc:spChg chg="mod">
          <ac:chgData name="Amandeep Singh" userId="192f9da3-bd5c-42c3-8f41-80b8549e6782" providerId="ADAL" clId="{446EA5A1-8936-4500-BBD5-2705C1BEBC2C}" dt="2021-07-15T22:01:06.811" v="145"/>
          <ac:spMkLst>
            <pc:docMk/>
            <pc:sldMk cId="4136490571" sldId="274"/>
            <ac:spMk id="34" creationId="{EBCE4810-68B7-4154-9C9C-1B3874891B98}"/>
          </ac:spMkLst>
        </pc:spChg>
        <pc:spChg chg="mod">
          <ac:chgData name="Amandeep Singh" userId="192f9da3-bd5c-42c3-8f41-80b8549e6782" providerId="ADAL" clId="{446EA5A1-8936-4500-BBD5-2705C1BEBC2C}" dt="2021-07-15T22:01:06.811" v="145"/>
          <ac:spMkLst>
            <pc:docMk/>
            <pc:sldMk cId="4136490571" sldId="274"/>
            <ac:spMk id="35" creationId="{92869717-180D-4EE9-94DF-0924759D3EEC}"/>
          </ac:spMkLst>
        </pc:spChg>
        <pc:spChg chg="mod">
          <ac:chgData name="Amandeep Singh" userId="192f9da3-bd5c-42c3-8f41-80b8549e6782" providerId="ADAL" clId="{446EA5A1-8936-4500-BBD5-2705C1BEBC2C}" dt="2021-07-15T22:01:06.811" v="145"/>
          <ac:spMkLst>
            <pc:docMk/>
            <pc:sldMk cId="4136490571" sldId="274"/>
            <ac:spMk id="36" creationId="{F89DE5A8-293E-4125-AF5F-4C27812C5B72}"/>
          </ac:spMkLst>
        </pc:spChg>
        <pc:spChg chg="mod">
          <ac:chgData name="Amandeep Singh" userId="192f9da3-bd5c-42c3-8f41-80b8549e6782" providerId="ADAL" clId="{446EA5A1-8936-4500-BBD5-2705C1BEBC2C}" dt="2021-07-15T22:01:06.811" v="145"/>
          <ac:spMkLst>
            <pc:docMk/>
            <pc:sldMk cId="4136490571" sldId="274"/>
            <ac:spMk id="37" creationId="{836BF418-6562-4D4E-922A-DFE1CC64A74E}"/>
          </ac:spMkLst>
        </pc:spChg>
        <pc:spChg chg="mod">
          <ac:chgData name="Amandeep Singh" userId="192f9da3-bd5c-42c3-8f41-80b8549e6782" providerId="ADAL" clId="{446EA5A1-8936-4500-BBD5-2705C1BEBC2C}" dt="2021-07-15T22:01:06.811" v="145"/>
          <ac:spMkLst>
            <pc:docMk/>
            <pc:sldMk cId="4136490571" sldId="274"/>
            <ac:spMk id="53" creationId="{AC2212CF-B84B-4EE9-A829-67168C6B1AF4}"/>
          </ac:spMkLst>
        </pc:spChg>
        <pc:grpChg chg="del">
          <ac:chgData name="Amandeep Singh" userId="192f9da3-bd5c-42c3-8f41-80b8549e6782" providerId="ADAL" clId="{446EA5A1-8936-4500-BBD5-2705C1BEBC2C}" dt="2021-07-15T22:01:02.046" v="144" actId="478"/>
          <ac:grpSpMkLst>
            <pc:docMk/>
            <pc:sldMk cId="4136490571" sldId="274"/>
            <ac:grpSpMk id="20" creationId="{AC60EC7C-C2E4-462C-B595-E7662FB1D72B}"/>
          </ac:grpSpMkLst>
        </pc:grpChg>
        <pc:grpChg chg="add mod">
          <ac:chgData name="Amandeep Singh" userId="192f9da3-bd5c-42c3-8f41-80b8549e6782" providerId="ADAL" clId="{446EA5A1-8936-4500-BBD5-2705C1BEBC2C}" dt="2021-07-15T22:01:06.811" v="145"/>
          <ac:grpSpMkLst>
            <pc:docMk/>
            <pc:sldMk cId="4136490571" sldId="274"/>
            <ac:grpSpMk id="21" creationId="{B92F545D-DBB2-409A-8AF1-B039EE836018}"/>
          </ac:grpSpMkLst>
        </pc:grpChg>
        <pc:graphicFrameChg chg="mod modGraphic">
          <ac:chgData name="Amandeep Singh" userId="192f9da3-bd5c-42c3-8f41-80b8549e6782" providerId="ADAL" clId="{446EA5A1-8936-4500-BBD5-2705C1BEBC2C}" dt="2021-07-15T22:01:21.598" v="149" actId="1076"/>
          <ac:graphicFrameMkLst>
            <pc:docMk/>
            <pc:sldMk cId="4136490571" sldId="274"/>
            <ac:graphicFrameMk id="24" creationId="{7362F73C-AB11-4FAC-BC54-EB7D7F84848E}"/>
          </ac:graphicFrameMkLst>
        </pc:graphicFrameChg>
        <pc:inkChg chg="mod">
          <ac:chgData name="Amandeep Singh" userId="192f9da3-bd5c-42c3-8f41-80b8549e6782" providerId="ADAL" clId="{446EA5A1-8936-4500-BBD5-2705C1BEBC2C}" dt="2021-07-15T22:01:06.811" v="145"/>
          <ac:inkMkLst>
            <pc:docMk/>
            <pc:sldMk cId="4136490571" sldId="274"/>
            <ac:inkMk id="23" creationId="{06B4CB2F-6C43-421A-8AAA-F24D49C5704F}"/>
          </ac:inkMkLst>
        </pc:inkChg>
      </pc:sldChg>
      <pc:sldChg chg="addSp delSp modSp mod">
        <pc:chgData name="Amandeep Singh" userId="192f9da3-bd5c-42c3-8f41-80b8549e6782" providerId="ADAL" clId="{446EA5A1-8936-4500-BBD5-2705C1BEBC2C}" dt="2021-07-15T22:02:23.016" v="160" actId="108"/>
        <pc:sldMkLst>
          <pc:docMk/>
          <pc:sldMk cId="3225290215" sldId="275"/>
        </pc:sldMkLst>
        <pc:spChg chg="mod">
          <ac:chgData name="Amandeep Singh" userId="192f9da3-bd5c-42c3-8f41-80b8549e6782" providerId="ADAL" clId="{446EA5A1-8936-4500-BBD5-2705C1BEBC2C}" dt="2021-07-15T22:02:07.154" v="158" actId="14100"/>
          <ac:spMkLst>
            <pc:docMk/>
            <pc:sldMk cId="3225290215" sldId="275"/>
            <ac:spMk id="4" creationId="{7D8BF15D-3C83-4FE0-850C-1ED137108BEC}"/>
          </ac:spMkLst>
        </pc:spChg>
        <pc:spChg chg="mod">
          <ac:chgData name="Amandeep Singh" userId="192f9da3-bd5c-42c3-8f41-80b8549e6782" providerId="ADAL" clId="{446EA5A1-8936-4500-BBD5-2705C1BEBC2C}" dt="2021-07-15T22:01:52.850" v="154"/>
          <ac:spMkLst>
            <pc:docMk/>
            <pc:sldMk cId="3225290215" sldId="275"/>
            <ac:spMk id="40" creationId="{67C03A68-CCAD-4E8F-87AB-00136BBEBEC2}"/>
          </ac:spMkLst>
        </pc:spChg>
        <pc:spChg chg="mod">
          <ac:chgData name="Amandeep Singh" userId="192f9da3-bd5c-42c3-8f41-80b8549e6782" providerId="ADAL" clId="{446EA5A1-8936-4500-BBD5-2705C1BEBC2C}" dt="2021-07-15T22:01:52.850" v="154"/>
          <ac:spMkLst>
            <pc:docMk/>
            <pc:sldMk cId="3225290215" sldId="275"/>
            <ac:spMk id="41" creationId="{77645614-5217-41EF-B2B4-460292347E4F}"/>
          </ac:spMkLst>
        </pc:spChg>
        <pc:spChg chg="mod">
          <ac:chgData name="Amandeep Singh" userId="192f9da3-bd5c-42c3-8f41-80b8549e6782" providerId="ADAL" clId="{446EA5A1-8936-4500-BBD5-2705C1BEBC2C}" dt="2021-07-15T22:01:52.850" v="154"/>
          <ac:spMkLst>
            <pc:docMk/>
            <pc:sldMk cId="3225290215" sldId="275"/>
            <ac:spMk id="42" creationId="{2D32C7DD-DBB9-4E83-B42D-B2138AB0B138}"/>
          </ac:spMkLst>
        </pc:spChg>
        <pc:spChg chg="mod">
          <ac:chgData name="Amandeep Singh" userId="192f9da3-bd5c-42c3-8f41-80b8549e6782" providerId="ADAL" clId="{446EA5A1-8936-4500-BBD5-2705C1BEBC2C}" dt="2021-07-15T22:01:52.850" v="154"/>
          <ac:spMkLst>
            <pc:docMk/>
            <pc:sldMk cId="3225290215" sldId="275"/>
            <ac:spMk id="43" creationId="{D505A0F7-1D75-44F9-BC05-7595EEF6835A}"/>
          </ac:spMkLst>
        </pc:spChg>
        <pc:spChg chg="mod">
          <ac:chgData name="Amandeep Singh" userId="192f9da3-bd5c-42c3-8f41-80b8549e6782" providerId="ADAL" clId="{446EA5A1-8936-4500-BBD5-2705C1BEBC2C}" dt="2021-07-15T22:01:52.850" v="154"/>
          <ac:spMkLst>
            <pc:docMk/>
            <pc:sldMk cId="3225290215" sldId="275"/>
            <ac:spMk id="44" creationId="{84182557-18CB-493A-B80B-9B54EC1AC946}"/>
          </ac:spMkLst>
        </pc:spChg>
        <pc:spChg chg="mod">
          <ac:chgData name="Amandeep Singh" userId="192f9da3-bd5c-42c3-8f41-80b8549e6782" providerId="ADAL" clId="{446EA5A1-8936-4500-BBD5-2705C1BEBC2C}" dt="2021-07-15T22:01:52.850" v="154"/>
          <ac:spMkLst>
            <pc:docMk/>
            <pc:sldMk cId="3225290215" sldId="275"/>
            <ac:spMk id="45" creationId="{7A37EAAC-B2D1-44A8-AE8D-29EBC2838C8A}"/>
          </ac:spMkLst>
        </pc:spChg>
        <pc:spChg chg="mod">
          <ac:chgData name="Amandeep Singh" userId="192f9da3-bd5c-42c3-8f41-80b8549e6782" providerId="ADAL" clId="{446EA5A1-8936-4500-BBD5-2705C1BEBC2C}" dt="2021-07-15T22:02:23.016" v="160" actId="108"/>
          <ac:spMkLst>
            <pc:docMk/>
            <pc:sldMk cId="3225290215" sldId="275"/>
            <ac:spMk id="46" creationId="{EA64D5D2-067F-4ECB-AD0B-990A0D5EED75}"/>
          </ac:spMkLst>
        </pc:spChg>
        <pc:spChg chg="mod">
          <ac:chgData name="Amandeep Singh" userId="192f9da3-bd5c-42c3-8f41-80b8549e6782" providerId="ADAL" clId="{446EA5A1-8936-4500-BBD5-2705C1BEBC2C}" dt="2021-07-15T22:01:52.850" v="154"/>
          <ac:spMkLst>
            <pc:docMk/>
            <pc:sldMk cId="3225290215" sldId="275"/>
            <ac:spMk id="47" creationId="{CB3C849A-19CB-40E8-89B0-7F345694C014}"/>
          </ac:spMkLst>
        </pc:spChg>
        <pc:spChg chg="mod">
          <ac:chgData name="Amandeep Singh" userId="192f9da3-bd5c-42c3-8f41-80b8549e6782" providerId="ADAL" clId="{446EA5A1-8936-4500-BBD5-2705C1BEBC2C}" dt="2021-07-15T22:01:52.850" v="154"/>
          <ac:spMkLst>
            <pc:docMk/>
            <pc:sldMk cId="3225290215" sldId="275"/>
            <ac:spMk id="48" creationId="{14B9B0D9-6F65-4BB5-8651-95C6B8785F05}"/>
          </ac:spMkLst>
        </pc:spChg>
        <pc:spChg chg="mod">
          <ac:chgData name="Amandeep Singh" userId="192f9da3-bd5c-42c3-8f41-80b8549e6782" providerId="ADAL" clId="{446EA5A1-8936-4500-BBD5-2705C1BEBC2C}" dt="2021-07-15T22:01:52.850" v="154"/>
          <ac:spMkLst>
            <pc:docMk/>
            <pc:sldMk cId="3225290215" sldId="275"/>
            <ac:spMk id="49" creationId="{45595366-92A5-4BF9-890E-EAB3D92867FA}"/>
          </ac:spMkLst>
        </pc:spChg>
        <pc:spChg chg="mod">
          <ac:chgData name="Amandeep Singh" userId="192f9da3-bd5c-42c3-8f41-80b8549e6782" providerId="ADAL" clId="{446EA5A1-8936-4500-BBD5-2705C1BEBC2C}" dt="2021-07-15T22:01:52.850" v="154"/>
          <ac:spMkLst>
            <pc:docMk/>
            <pc:sldMk cId="3225290215" sldId="275"/>
            <ac:spMk id="50" creationId="{CC367EF0-A712-41BD-9352-64DF8D1C5105}"/>
          </ac:spMkLst>
        </pc:spChg>
        <pc:spChg chg="mod">
          <ac:chgData name="Amandeep Singh" userId="192f9da3-bd5c-42c3-8f41-80b8549e6782" providerId="ADAL" clId="{446EA5A1-8936-4500-BBD5-2705C1BEBC2C}" dt="2021-07-15T22:01:52.850" v="154"/>
          <ac:spMkLst>
            <pc:docMk/>
            <pc:sldMk cId="3225290215" sldId="275"/>
            <ac:spMk id="51" creationId="{B11010B0-41CD-44D6-89E1-44D1E01BA998}"/>
          </ac:spMkLst>
        </pc:spChg>
        <pc:spChg chg="mod">
          <ac:chgData name="Amandeep Singh" userId="192f9da3-bd5c-42c3-8f41-80b8549e6782" providerId="ADAL" clId="{446EA5A1-8936-4500-BBD5-2705C1BEBC2C}" dt="2021-07-15T22:02:19.816" v="159" actId="108"/>
          <ac:spMkLst>
            <pc:docMk/>
            <pc:sldMk cId="3225290215" sldId="275"/>
            <ac:spMk id="52" creationId="{BAE78661-B793-498A-9D03-7BDB1CA3844B}"/>
          </ac:spMkLst>
        </pc:spChg>
        <pc:spChg chg="mod">
          <ac:chgData name="Amandeep Singh" userId="192f9da3-bd5c-42c3-8f41-80b8549e6782" providerId="ADAL" clId="{446EA5A1-8936-4500-BBD5-2705C1BEBC2C}" dt="2021-07-15T22:01:52.850" v="154"/>
          <ac:spMkLst>
            <pc:docMk/>
            <pc:sldMk cId="3225290215" sldId="275"/>
            <ac:spMk id="53" creationId="{B2D65060-4388-4B61-A85D-0B4F70123627}"/>
          </ac:spMkLst>
        </pc:spChg>
        <pc:grpChg chg="del">
          <ac:chgData name="Amandeep Singh" userId="192f9da3-bd5c-42c3-8f41-80b8549e6782" providerId="ADAL" clId="{446EA5A1-8936-4500-BBD5-2705C1BEBC2C}" dt="2021-07-15T22:01:46.848" v="153" actId="478"/>
          <ac:grpSpMkLst>
            <pc:docMk/>
            <pc:sldMk cId="3225290215" sldId="275"/>
            <ac:grpSpMk id="21" creationId="{3C205E51-120E-4F12-ADFF-221BE9C31AFC}"/>
          </ac:grpSpMkLst>
        </pc:grpChg>
        <pc:grpChg chg="add mod">
          <ac:chgData name="Amandeep Singh" userId="192f9da3-bd5c-42c3-8f41-80b8549e6782" providerId="ADAL" clId="{446EA5A1-8936-4500-BBD5-2705C1BEBC2C}" dt="2021-07-15T22:02:02.210" v="157" actId="14100"/>
          <ac:grpSpMkLst>
            <pc:docMk/>
            <pc:sldMk cId="3225290215" sldId="275"/>
            <ac:grpSpMk id="37" creationId="{5502E4BA-778B-4F28-BFF1-CFE28592A7DD}"/>
          </ac:grpSpMkLst>
        </pc:grpChg>
        <pc:inkChg chg="mod">
          <ac:chgData name="Amandeep Singh" userId="192f9da3-bd5c-42c3-8f41-80b8549e6782" providerId="ADAL" clId="{446EA5A1-8936-4500-BBD5-2705C1BEBC2C}" dt="2021-07-15T22:01:52.850" v="154"/>
          <ac:inkMkLst>
            <pc:docMk/>
            <pc:sldMk cId="3225290215" sldId="275"/>
            <ac:inkMk id="38" creationId="{ACBEA314-9B5C-484F-8DC9-FF0326A42AB5}"/>
          </ac:inkMkLst>
        </pc:inkChg>
      </pc:sldChg>
      <pc:sldChg chg="modSp">
        <pc:chgData name="Amandeep Singh" userId="192f9da3-bd5c-42c3-8f41-80b8549e6782" providerId="ADAL" clId="{446EA5A1-8936-4500-BBD5-2705C1BEBC2C}" dt="2021-07-15T21:50:05.636" v="35" actId="108"/>
        <pc:sldMkLst>
          <pc:docMk/>
          <pc:sldMk cId="1229735303" sldId="2147469608"/>
        </pc:sldMkLst>
        <pc:grpChg chg="mod">
          <ac:chgData name="Amandeep Singh" userId="192f9da3-bd5c-42c3-8f41-80b8549e6782" providerId="ADAL" clId="{446EA5A1-8936-4500-BBD5-2705C1BEBC2C}" dt="2021-07-15T21:50:05.636" v="35" actId="108"/>
          <ac:grpSpMkLst>
            <pc:docMk/>
            <pc:sldMk cId="1229735303" sldId="2147469608"/>
            <ac:grpSpMk id="4" creationId="{ED6AFCA3-BA6C-448A-9700-8D8D02E1D87B}"/>
          </ac:grpSpMkLst>
        </pc:grpChg>
      </pc:sldChg>
      <pc:sldChg chg="del">
        <pc:chgData name="Amandeep Singh" userId="192f9da3-bd5c-42c3-8f41-80b8549e6782" providerId="ADAL" clId="{446EA5A1-8936-4500-BBD5-2705C1BEBC2C}" dt="2021-07-15T21:46:46.573" v="0" actId="2696"/>
        <pc:sldMkLst>
          <pc:docMk/>
          <pc:sldMk cId="3243452514" sldId="2147469610"/>
        </pc:sldMkLst>
      </pc:sldChg>
    </pc:docChg>
  </pc:docChgLst>
  <pc:docChgLst>
    <pc:chgData name="Amandeep Singh" userId="192f9da3-bd5c-42c3-8f41-80b8549e6782" providerId="ADAL" clId="{F830C17E-9D64-4BEF-A194-2F47D1141FB7}"/>
    <pc:docChg chg="undo custSel addSld delSld modSld sldOrd">
      <pc:chgData name="Amandeep Singh" userId="192f9da3-bd5c-42c3-8f41-80b8549e6782" providerId="ADAL" clId="{F830C17E-9D64-4BEF-A194-2F47D1141FB7}" dt="2021-06-16T19:48:22.715" v="1332" actId="108"/>
      <pc:docMkLst>
        <pc:docMk/>
      </pc:docMkLst>
      <pc:sldChg chg="addSp delSp modSp mod">
        <pc:chgData name="Amandeep Singh" userId="192f9da3-bd5c-42c3-8f41-80b8549e6782" providerId="ADAL" clId="{F830C17E-9D64-4BEF-A194-2F47D1141FB7}" dt="2021-06-16T19:34:48.810" v="1211" actId="1076"/>
        <pc:sldMkLst>
          <pc:docMk/>
          <pc:sldMk cId="2584029683" sldId="257"/>
        </pc:sldMkLst>
        <pc:spChg chg="mod">
          <ac:chgData name="Amandeep Singh" userId="192f9da3-bd5c-42c3-8f41-80b8549e6782" providerId="ADAL" clId="{F830C17E-9D64-4BEF-A194-2F47D1141FB7}" dt="2021-06-16T19:34:48.810" v="1211" actId="1076"/>
          <ac:spMkLst>
            <pc:docMk/>
            <pc:sldMk cId="2584029683" sldId="257"/>
            <ac:spMk id="4" creationId="{C07C45B8-4983-4FFB-BD8B-B2F43686E476}"/>
          </ac:spMkLst>
        </pc:spChg>
        <pc:spChg chg="mod">
          <ac:chgData name="Amandeep Singh" userId="192f9da3-bd5c-42c3-8f41-80b8549e6782" providerId="ADAL" clId="{F830C17E-9D64-4BEF-A194-2F47D1141FB7}" dt="2021-06-07T23:04:18.090" v="379"/>
          <ac:spMkLst>
            <pc:docMk/>
            <pc:sldMk cId="2584029683" sldId="257"/>
            <ac:spMk id="7" creationId="{C2F561B5-02D3-4E88-BA65-A49901052497}"/>
          </ac:spMkLst>
        </pc:spChg>
        <pc:spChg chg="mod">
          <ac:chgData name="Amandeep Singh" userId="192f9da3-bd5c-42c3-8f41-80b8549e6782" providerId="ADAL" clId="{F830C17E-9D64-4BEF-A194-2F47D1141FB7}" dt="2021-06-07T23:04:18.090" v="379"/>
          <ac:spMkLst>
            <pc:docMk/>
            <pc:sldMk cId="2584029683" sldId="257"/>
            <ac:spMk id="8" creationId="{28AA4379-24B2-43D1-92D8-99EB3D562C36}"/>
          </ac:spMkLst>
        </pc:spChg>
        <pc:spChg chg="mod">
          <ac:chgData name="Amandeep Singh" userId="192f9da3-bd5c-42c3-8f41-80b8549e6782" providerId="ADAL" clId="{F830C17E-9D64-4BEF-A194-2F47D1141FB7}" dt="2021-06-07T23:04:37.529" v="382" actId="108"/>
          <ac:spMkLst>
            <pc:docMk/>
            <pc:sldMk cId="2584029683" sldId="257"/>
            <ac:spMk id="9" creationId="{DD5CC9E8-0059-495F-A7C9-0851B34BED8C}"/>
          </ac:spMkLst>
        </pc:spChg>
        <pc:spChg chg="mod">
          <ac:chgData name="Amandeep Singh" userId="192f9da3-bd5c-42c3-8f41-80b8549e6782" providerId="ADAL" clId="{F830C17E-9D64-4BEF-A194-2F47D1141FB7}" dt="2021-06-07T23:04:18.090" v="379"/>
          <ac:spMkLst>
            <pc:docMk/>
            <pc:sldMk cId="2584029683" sldId="257"/>
            <ac:spMk id="10" creationId="{DD0AB2BF-8CC5-4565-8A5E-5259664FEDCA}"/>
          </ac:spMkLst>
        </pc:spChg>
        <pc:spChg chg="mod">
          <ac:chgData name="Amandeep Singh" userId="192f9da3-bd5c-42c3-8f41-80b8549e6782" providerId="ADAL" clId="{F830C17E-9D64-4BEF-A194-2F47D1141FB7}" dt="2021-06-07T23:04:18.090" v="379"/>
          <ac:spMkLst>
            <pc:docMk/>
            <pc:sldMk cId="2584029683" sldId="257"/>
            <ac:spMk id="11" creationId="{FFD8D482-F21E-43EA-ACA5-C914207AD6CE}"/>
          </ac:spMkLst>
        </pc:spChg>
        <pc:spChg chg="mod">
          <ac:chgData name="Amandeep Singh" userId="192f9da3-bd5c-42c3-8f41-80b8549e6782" providerId="ADAL" clId="{F830C17E-9D64-4BEF-A194-2F47D1141FB7}" dt="2021-06-07T23:04:18.090" v="379"/>
          <ac:spMkLst>
            <pc:docMk/>
            <pc:sldMk cId="2584029683" sldId="257"/>
            <ac:spMk id="12" creationId="{AA8016DC-B40B-4009-A2EF-A3A0ADEDC7D6}"/>
          </ac:spMkLst>
        </pc:spChg>
        <pc:spChg chg="mod">
          <ac:chgData name="Amandeep Singh" userId="192f9da3-bd5c-42c3-8f41-80b8549e6782" providerId="ADAL" clId="{F830C17E-9D64-4BEF-A194-2F47D1141FB7}" dt="2021-06-07T23:04:43.695" v="383" actId="207"/>
          <ac:spMkLst>
            <pc:docMk/>
            <pc:sldMk cId="2584029683" sldId="257"/>
            <ac:spMk id="13" creationId="{76C7C7BC-3834-4458-935D-F547969E36E5}"/>
          </ac:spMkLst>
        </pc:spChg>
        <pc:spChg chg="mod">
          <ac:chgData name="Amandeep Singh" userId="192f9da3-bd5c-42c3-8f41-80b8549e6782" providerId="ADAL" clId="{F830C17E-9D64-4BEF-A194-2F47D1141FB7}" dt="2021-06-07T23:04:18.090" v="379"/>
          <ac:spMkLst>
            <pc:docMk/>
            <pc:sldMk cId="2584029683" sldId="257"/>
            <ac:spMk id="14" creationId="{F5703403-DEBC-4C55-A264-7A6D9D0054A2}"/>
          </ac:spMkLst>
        </pc:spChg>
        <pc:spChg chg="mod">
          <ac:chgData name="Amandeep Singh" userId="192f9da3-bd5c-42c3-8f41-80b8549e6782" providerId="ADAL" clId="{F830C17E-9D64-4BEF-A194-2F47D1141FB7}" dt="2021-06-07T23:04:18.090" v="379"/>
          <ac:spMkLst>
            <pc:docMk/>
            <pc:sldMk cId="2584029683" sldId="257"/>
            <ac:spMk id="15" creationId="{0D9306B0-F645-40BA-8E4E-54436C0018EE}"/>
          </ac:spMkLst>
        </pc:spChg>
        <pc:spChg chg="add del mod topLvl">
          <ac:chgData name="Amandeep Singh" userId="192f9da3-bd5c-42c3-8f41-80b8549e6782" providerId="ADAL" clId="{F830C17E-9D64-4BEF-A194-2F47D1141FB7}" dt="2021-06-10T23:11:58.019" v="758"/>
          <ac:spMkLst>
            <pc:docMk/>
            <pc:sldMk cId="2584029683" sldId="257"/>
            <ac:spMk id="17" creationId="{8B283953-FDE8-423B-A73E-1E85D4B70542}"/>
          </ac:spMkLst>
        </pc:spChg>
        <pc:spChg chg="add del mod topLvl">
          <ac:chgData name="Amandeep Singh" userId="192f9da3-bd5c-42c3-8f41-80b8549e6782" providerId="ADAL" clId="{F830C17E-9D64-4BEF-A194-2F47D1141FB7}" dt="2021-06-10T23:11:58.019" v="758"/>
          <ac:spMkLst>
            <pc:docMk/>
            <pc:sldMk cId="2584029683" sldId="257"/>
            <ac:spMk id="18" creationId="{7154CC19-434F-496E-902C-E1B54F50ADDA}"/>
          </ac:spMkLst>
        </pc:spChg>
        <pc:spChg chg="add del mod topLvl">
          <ac:chgData name="Amandeep Singh" userId="192f9da3-bd5c-42c3-8f41-80b8549e6782" providerId="ADAL" clId="{F830C17E-9D64-4BEF-A194-2F47D1141FB7}" dt="2021-06-10T23:11:58.019" v="758"/>
          <ac:spMkLst>
            <pc:docMk/>
            <pc:sldMk cId="2584029683" sldId="257"/>
            <ac:spMk id="19" creationId="{B0F350E4-95F7-4808-AFE4-3B8453F67D92}"/>
          </ac:spMkLst>
        </pc:spChg>
        <pc:spChg chg="add del mod topLvl">
          <ac:chgData name="Amandeep Singh" userId="192f9da3-bd5c-42c3-8f41-80b8549e6782" providerId="ADAL" clId="{F830C17E-9D64-4BEF-A194-2F47D1141FB7}" dt="2021-06-10T23:11:58.019" v="758"/>
          <ac:spMkLst>
            <pc:docMk/>
            <pc:sldMk cId="2584029683" sldId="257"/>
            <ac:spMk id="20" creationId="{5CC302D2-D07E-41DF-AABB-E915EA797848}"/>
          </ac:spMkLst>
        </pc:spChg>
        <pc:spChg chg="add del mod topLvl">
          <ac:chgData name="Amandeep Singh" userId="192f9da3-bd5c-42c3-8f41-80b8549e6782" providerId="ADAL" clId="{F830C17E-9D64-4BEF-A194-2F47D1141FB7}" dt="2021-06-10T23:11:58.019" v="758"/>
          <ac:spMkLst>
            <pc:docMk/>
            <pc:sldMk cId="2584029683" sldId="257"/>
            <ac:spMk id="21" creationId="{E8DD6619-F680-487A-9940-689DC16741A1}"/>
          </ac:spMkLst>
        </pc:spChg>
        <pc:spChg chg="add del mod topLvl">
          <ac:chgData name="Amandeep Singh" userId="192f9da3-bd5c-42c3-8f41-80b8549e6782" providerId="ADAL" clId="{F830C17E-9D64-4BEF-A194-2F47D1141FB7}" dt="2021-06-10T23:11:58.019" v="758"/>
          <ac:spMkLst>
            <pc:docMk/>
            <pc:sldMk cId="2584029683" sldId="257"/>
            <ac:spMk id="22" creationId="{567B71C2-27DD-42F9-9750-AB02508E8F41}"/>
          </ac:spMkLst>
        </pc:spChg>
        <pc:spChg chg="mod">
          <ac:chgData name="Amandeep Singh" userId="192f9da3-bd5c-42c3-8f41-80b8549e6782" providerId="ADAL" clId="{F830C17E-9D64-4BEF-A194-2F47D1141FB7}" dt="2021-06-16T19:34:13.929" v="1202"/>
          <ac:spMkLst>
            <pc:docMk/>
            <pc:sldMk cId="2584029683" sldId="257"/>
            <ac:spMk id="22" creationId="{E35F25F0-7509-4E9D-867A-30D19B07E398}"/>
          </ac:spMkLst>
        </pc:spChg>
        <pc:spChg chg="add del mod topLvl">
          <ac:chgData name="Amandeep Singh" userId="192f9da3-bd5c-42c3-8f41-80b8549e6782" providerId="ADAL" clId="{F830C17E-9D64-4BEF-A194-2F47D1141FB7}" dt="2021-06-10T23:11:58.019" v="758"/>
          <ac:spMkLst>
            <pc:docMk/>
            <pc:sldMk cId="2584029683" sldId="257"/>
            <ac:spMk id="23" creationId="{553031DC-1A1E-49E0-BB98-77694EF049D4}"/>
          </ac:spMkLst>
        </pc:spChg>
        <pc:spChg chg="mod">
          <ac:chgData name="Amandeep Singh" userId="192f9da3-bd5c-42c3-8f41-80b8549e6782" providerId="ADAL" clId="{F830C17E-9D64-4BEF-A194-2F47D1141FB7}" dt="2021-06-16T19:34:13.929" v="1202"/>
          <ac:spMkLst>
            <pc:docMk/>
            <pc:sldMk cId="2584029683" sldId="257"/>
            <ac:spMk id="23" creationId="{8519B443-F2E4-41A6-818B-A71C4E6E309D}"/>
          </ac:spMkLst>
        </pc:spChg>
        <pc:spChg chg="add del mod topLvl">
          <ac:chgData name="Amandeep Singh" userId="192f9da3-bd5c-42c3-8f41-80b8549e6782" providerId="ADAL" clId="{F830C17E-9D64-4BEF-A194-2F47D1141FB7}" dt="2021-06-10T23:11:58.019" v="758"/>
          <ac:spMkLst>
            <pc:docMk/>
            <pc:sldMk cId="2584029683" sldId="257"/>
            <ac:spMk id="24" creationId="{3C8840FD-5953-479E-93FD-7040672B68DD}"/>
          </ac:spMkLst>
        </pc:spChg>
        <pc:spChg chg="mod">
          <ac:chgData name="Amandeep Singh" userId="192f9da3-bd5c-42c3-8f41-80b8549e6782" providerId="ADAL" clId="{F830C17E-9D64-4BEF-A194-2F47D1141FB7}" dt="2021-06-16T19:34:36.372" v="1209" actId="108"/>
          <ac:spMkLst>
            <pc:docMk/>
            <pc:sldMk cId="2584029683" sldId="257"/>
            <ac:spMk id="24" creationId="{82945925-295C-4506-8929-588BF278B90F}"/>
          </ac:spMkLst>
        </pc:spChg>
        <pc:spChg chg="add del mod topLvl">
          <ac:chgData name="Amandeep Singh" userId="192f9da3-bd5c-42c3-8f41-80b8549e6782" providerId="ADAL" clId="{F830C17E-9D64-4BEF-A194-2F47D1141FB7}" dt="2021-06-10T23:11:58.019" v="758"/>
          <ac:spMkLst>
            <pc:docMk/>
            <pc:sldMk cId="2584029683" sldId="257"/>
            <ac:spMk id="25" creationId="{734551A2-A171-4DBA-9A4F-67879EFDF7E7}"/>
          </ac:spMkLst>
        </pc:spChg>
        <pc:spChg chg="mod">
          <ac:chgData name="Amandeep Singh" userId="192f9da3-bd5c-42c3-8f41-80b8549e6782" providerId="ADAL" clId="{F830C17E-9D64-4BEF-A194-2F47D1141FB7}" dt="2021-06-16T19:34:13.929" v="1202"/>
          <ac:spMkLst>
            <pc:docMk/>
            <pc:sldMk cId="2584029683" sldId="257"/>
            <ac:spMk id="25" creationId="{C7EC4CE1-8CAB-494E-B28B-AE937D04FE82}"/>
          </ac:spMkLst>
        </pc:spChg>
        <pc:spChg chg="add del mod topLvl">
          <ac:chgData name="Amandeep Singh" userId="192f9da3-bd5c-42c3-8f41-80b8549e6782" providerId="ADAL" clId="{F830C17E-9D64-4BEF-A194-2F47D1141FB7}" dt="2021-06-10T23:11:58.019" v="758"/>
          <ac:spMkLst>
            <pc:docMk/>
            <pc:sldMk cId="2584029683" sldId="257"/>
            <ac:spMk id="26" creationId="{04A58229-F181-43BB-9EC6-5B6A27109533}"/>
          </ac:spMkLst>
        </pc:spChg>
        <pc:spChg chg="mod">
          <ac:chgData name="Amandeep Singh" userId="192f9da3-bd5c-42c3-8f41-80b8549e6782" providerId="ADAL" clId="{F830C17E-9D64-4BEF-A194-2F47D1141FB7}" dt="2021-06-16T19:34:13.929" v="1202"/>
          <ac:spMkLst>
            <pc:docMk/>
            <pc:sldMk cId="2584029683" sldId="257"/>
            <ac:spMk id="26" creationId="{62DD9E2B-3248-45A4-9163-BA9A9FD0370D}"/>
          </ac:spMkLst>
        </pc:spChg>
        <pc:spChg chg="mod">
          <ac:chgData name="Amandeep Singh" userId="192f9da3-bd5c-42c3-8f41-80b8549e6782" providerId="ADAL" clId="{F830C17E-9D64-4BEF-A194-2F47D1141FB7}" dt="2021-06-16T19:34:13.929" v="1202"/>
          <ac:spMkLst>
            <pc:docMk/>
            <pc:sldMk cId="2584029683" sldId="257"/>
            <ac:spMk id="27" creationId="{01BC1602-6D88-4B34-82FA-05DD93A6317B}"/>
          </ac:spMkLst>
        </pc:spChg>
        <pc:spChg chg="add del mod topLvl">
          <ac:chgData name="Amandeep Singh" userId="192f9da3-bd5c-42c3-8f41-80b8549e6782" providerId="ADAL" clId="{F830C17E-9D64-4BEF-A194-2F47D1141FB7}" dt="2021-06-10T23:11:58.019" v="758"/>
          <ac:spMkLst>
            <pc:docMk/>
            <pc:sldMk cId="2584029683" sldId="257"/>
            <ac:spMk id="27" creationId="{E5E001D8-70B1-4A2C-BA35-1ADF4EBFF1A1}"/>
          </ac:spMkLst>
        </pc:spChg>
        <pc:spChg chg="mod">
          <ac:chgData name="Amandeep Singh" userId="192f9da3-bd5c-42c3-8f41-80b8549e6782" providerId="ADAL" clId="{F830C17E-9D64-4BEF-A194-2F47D1141FB7}" dt="2021-06-16T19:34:13.929" v="1202"/>
          <ac:spMkLst>
            <pc:docMk/>
            <pc:sldMk cId="2584029683" sldId="257"/>
            <ac:spMk id="28" creationId="{3836B53C-B3AF-4282-B121-D1C651E96A4E}"/>
          </ac:spMkLst>
        </pc:spChg>
        <pc:spChg chg="add del mod topLvl">
          <ac:chgData name="Amandeep Singh" userId="192f9da3-bd5c-42c3-8f41-80b8549e6782" providerId="ADAL" clId="{F830C17E-9D64-4BEF-A194-2F47D1141FB7}" dt="2021-06-10T23:11:58.019" v="758"/>
          <ac:spMkLst>
            <pc:docMk/>
            <pc:sldMk cId="2584029683" sldId="257"/>
            <ac:spMk id="28" creationId="{F8643127-1E9D-482C-B2FB-9AA53F45B3ED}"/>
          </ac:spMkLst>
        </pc:spChg>
        <pc:spChg chg="mod">
          <ac:chgData name="Amandeep Singh" userId="192f9da3-bd5c-42c3-8f41-80b8549e6782" providerId="ADAL" clId="{F830C17E-9D64-4BEF-A194-2F47D1141FB7}" dt="2021-06-16T19:34:39.843" v="1210" actId="108"/>
          <ac:spMkLst>
            <pc:docMk/>
            <pc:sldMk cId="2584029683" sldId="257"/>
            <ac:spMk id="29" creationId="{68F46EE4-E08E-4A9E-B242-B09E2988B306}"/>
          </ac:spMkLst>
        </pc:spChg>
        <pc:spChg chg="add del mod topLvl">
          <ac:chgData name="Amandeep Singh" userId="192f9da3-bd5c-42c3-8f41-80b8549e6782" providerId="ADAL" clId="{F830C17E-9D64-4BEF-A194-2F47D1141FB7}" dt="2021-06-10T23:11:58.019" v="758"/>
          <ac:spMkLst>
            <pc:docMk/>
            <pc:sldMk cId="2584029683" sldId="257"/>
            <ac:spMk id="29" creationId="{744567F5-461A-4203-93BD-9DE2197E9F20}"/>
          </ac:spMkLst>
        </pc:spChg>
        <pc:spChg chg="mod">
          <ac:chgData name="Amandeep Singh" userId="192f9da3-bd5c-42c3-8f41-80b8549e6782" providerId="ADAL" clId="{F830C17E-9D64-4BEF-A194-2F47D1141FB7}" dt="2021-06-10T23:12:02.029" v="759"/>
          <ac:spMkLst>
            <pc:docMk/>
            <pc:sldMk cId="2584029683" sldId="257"/>
            <ac:spMk id="32" creationId="{30773990-F7F8-43FA-8A53-DC7C56287AE4}"/>
          </ac:spMkLst>
        </pc:spChg>
        <pc:spChg chg="mod">
          <ac:chgData name="Amandeep Singh" userId="192f9da3-bd5c-42c3-8f41-80b8549e6782" providerId="ADAL" clId="{F830C17E-9D64-4BEF-A194-2F47D1141FB7}" dt="2021-06-10T23:12:02.029" v="759"/>
          <ac:spMkLst>
            <pc:docMk/>
            <pc:sldMk cId="2584029683" sldId="257"/>
            <ac:spMk id="33" creationId="{89061ED4-BC25-4735-BDE3-B8A03F5E0E34}"/>
          </ac:spMkLst>
        </pc:spChg>
        <pc:spChg chg="mod">
          <ac:chgData name="Amandeep Singh" userId="192f9da3-bd5c-42c3-8f41-80b8549e6782" providerId="ADAL" clId="{F830C17E-9D64-4BEF-A194-2F47D1141FB7}" dt="2021-06-10T23:12:23.852" v="763" actId="108"/>
          <ac:spMkLst>
            <pc:docMk/>
            <pc:sldMk cId="2584029683" sldId="257"/>
            <ac:spMk id="34" creationId="{DA050BBE-8568-4B39-98E0-769BACBC678C}"/>
          </ac:spMkLst>
        </pc:spChg>
        <pc:spChg chg="mod">
          <ac:chgData name="Amandeep Singh" userId="192f9da3-bd5c-42c3-8f41-80b8549e6782" providerId="ADAL" clId="{F830C17E-9D64-4BEF-A194-2F47D1141FB7}" dt="2021-06-10T23:12:28.954" v="765" actId="108"/>
          <ac:spMkLst>
            <pc:docMk/>
            <pc:sldMk cId="2584029683" sldId="257"/>
            <ac:spMk id="36" creationId="{5044C1DA-2F73-4474-9EF0-03B0A0B29612}"/>
          </ac:spMkLst>
        </pc:spChg>
        <pc:spChg chg="mod">
          <ac:chgData name="Amandeep Singh" userId="192f9da3-bd5c-42c3-8f41-80b8549e6782" providerId="ADAL" clId="{F830C17E-9D64-4BEF-A194-2F47D1141FB7}" dt="2021-06-16T19:34:32.176" v="1208" actId="1076"/>
          <ac:spMkLst>
            <pc:docMk/>
            <pc:sldMk cId="2584029683" sldId="257"/>
            <ac:spMk id="37" creationId="{C1B9BF59-FD78-4598-AEEA-8D4C555B37D4}"/>
          </ac:spMkLst>
        </pc:spChg>
        <pc:spChg chg="mod">
          <ac:chgData name="Amandeep Singh" userId="192f9da3-bd5c-42c3-8f41-80b8549e6782" providerId="ADAL" clId="{F830C17E-9D64-4BEF-A194-2F47D1141FB7}" dt="2021-06-10T23:12:02.029" v="759"/>
          <ac:spMkLst>
            <pc:docMk/>
            <pc:sldMk cId="2584029683" sldId="257"/>
            <ac:spMk id="38" creationId="{F7DCEC2D-7458-4897-9509-8ACACF01C4B9}"/>
          </ac:spMkLst>
        </pc:spChg>
        <pc:spChg chg="mod">
          <ac:chgData name="Amandeep Singh" userId="192f9da3-bd5c-42c3-8f41-80b8549e6782" providerId="ADAL" clId="{F830C17E-9D64-4BEF-A194-2F47D1141FB7}" dt="2021-06-10T23:12:02.029" v="759"/>
          <ac:spMkLst>
            <pc:docMk/>
            <pc:sldMk cId="2584029683" sldId="257"/>
            <ac:spMk id="39" creationId="{E7E1C3BF-3A0A-46CA-A2D8-DD9003144AE3}"/>
          </ac:spMkLst>
        </pc:spChg>
        <pc:spChg chg="mod">
          <ac:chgData name="Amandeep Singh" userId="192f9da3-bd5c-42c3-8f41-80b8549e6782" providerId="ADAL" clId="{F830C17E-9D64-4BEF-A194-2F47D1141FB7}" dt="2021-06-10T23:12:02.029" v="759"/>
          <ac:spMkLst>
            <pc:docMk/>
            <pc:sldMk cId="2584029683" sldId="257"/>
            <ac:spMk id="40" creationId="{DA62C774-11F0-439F-AFAB-8E646B6BB719}"/>
          </ac:spMkLst>
        </pc:spChg>
        <pc:spChg chg="mod">
          <ac:chgData name="Amandeep Singh" userId="192f9da3-bd5c-42c3-8f41-80b8549e6782" providerId="ADAL" clId="{F830C17E-9D64-4BEF-A194-2F47D1141FB7}" dt="2021-06-10T23:12:26.831" v="764" actId="108"/>
          <ac:spMkLst>
            <pc:docMk/>
            <pc:sldMk cId="2584029683" sldId="257"/>
            <ac:spMk id="41" creationId="{6EBBCC1A-B920-4D53-A4DE-6F4BE3173537}"/>
          </ac:spMkLst>
        </pc:spChg>
        <pc:spChg chg="mod">
          <ac:chgData name="Amandeep Singh" userId="192f9da3-bd5c-42c3-8f41-80b8549e6782" providerId="ADAL" clId="{F830C17E-9D64-4BEF-A194-2F47D1141FB7}" dt="2021-06-10T23:12:02.029" v="759"/>
          <ac:spMkLst>
            <pc:docMk/>
            <pc:sldMk cId="2584029683" sldId="257"/>
            <ac:spMk id="42" creationId="{EB0299BF-67E5-4B62-A17F-2824B2BE56C2}"/>
          </ac:spMkLst>
        </pc:spChg>
        <pc:spChg chg="mod">
          <ac:chgData name="Amandeep Singh" userId="192f9da3-bd5c-42c3-8f41-80b8549e6782" providerId="ADAL" clId="{F830C17E-9D64-4BEF-A194-2F47D1141FB7}" dt="2021-06-10T23:12:02.029" v="759"/>
          <ac:spMkLst>
            <pc:docMk/>
            <pc:sldMk cId="2584029683" sldId="257"/>
            <ac:spMk id="43" creationId="{07FE6D4A-8C79-470B-97F3-1B37E682F334}"/>
          </ac:spMkLst>
        </pc:spChg>
        <pc:spChg chg="mod">
          <ac:chgData name="Amandeep Singh" userId="192f9da3-bd5c-42c3-8f41-80b8549e6782" providerId="ADAL" clId="{F830C17E-9D64-4BEF-A194-2F47D1141FB7}" dt="2021-06-10T23:12:02.029" v="759"/>
          <ac:spMkLst>
            <pc:docMk/>
            <pc:sldMk cId="2584029683" sldId="257"/>
            <ac:spMk id="44" creationId="{33AFD952-52BD-4B28-A926-7922937B88AB}"/>
          </ac:spMkLst>
        </pc:spChg>
        <pc:spChg chg="mod">
          <ac:chgData name="Amandeep Singh" userId="192f9da3-bd5c-42c3-8f41-80b8549e6782" providerId="ADAL" clId="{F830C17E-9D64-4BEF-A194-2F47D1141FB7}" dt="2021-06-10T23:17:00.880" v="806" actId="108"/>
          <ac:spMkLst>
            <pc:docMk/>
            <pc:sldMk cId="2584029683" sldId="257"/>
            <ac:spMk id="45" creationId="{54E792EC-83ED-4BDC-A9EE-1A3404E69542}"/>
          </ac:spMkLst>
        </pc:spChg>
        <pc:spChg chg="mod">
          <ac:chgData name="Amandeep Singh" userId="192f9da3-bd5c-42c3-8f41-80b8549e6782" providerId="ADAL" clId="{F830C17E-9D64-4BEF-A194-2F47D1141FB7}" dt="2021-06-10T23:12:02.029" v="759"/>
          <ac:spMkLst>
            <pc:docMk/>
            <pc:sldMk cId="2584029683" sldId="257"/>
            <ac:spMk id="46" creationId="{74C4C5CB-4F7D-4642-9D26-3D5257C8722A}"/>
          </ac:spMkLst>
        </pc:spChg>
        <pc:spChg chg="mod">
          <ac:chgData name="Amandeep Singh" userId="192f9da3-bd5c-42c3-8f41-80b8549e6782" providerId="ADAL" clId="{F830C17E-9D64-4BEF-A194-2F47D1141FB7}" dt="2021-06-16T19:34:13.929" v="1202"/>
          <ac:spMkLst>
            <pc:docMk/>
            <pc:sldMk cId="2584029683" sldId="257"/>
            <ac:spMk id="47" creationId="{65833C9C-45A3-4CFF-BE69-A186C38E9562}"/>
          </ac:spMkLst>
        </pc:spChg>
        <pc:spChg chg="mod">
          <ac:chgData name="Amandeep Singh" userId="192f9da3-bd5c-42c3-8f41-80b8549e6782" providerId="ADAL" clId="{F830C17E-9D64-4BEF-A194-2F47D1141FB7}" dt="2021-06-16T19:34:13.929" v="1202"/>
          <ac:spMkLst>
            <pc:docMk/>
            <pc:sldMk cId="2584029683" sldId="257"/>
            <ac:spMk id="48" creationId="{69A41AE2-C398-4E5C-AD14-F6C534CDEA5E}"/>
          </ac:spMkLst>
        </pc:spChg>
        <pc:spChg chg="mod">
          <ac:chgData name="Amandeep Singh" userId="192f9da3-bd5c-42c3-8f41-80b8549e6782" providerId="ADAL" clId="{F830C17E-9D64-4BEF-A194-2F47D1141FB7}" dt="2021-06-16T19:34:13.929" v="1202"/>
          <ac:spMkLst>
            <pc:docMk/>
            <pc:sldMk cId="2584029683" sldId="257"/>
            <ac:spMk id="49" creationId="{4634C863-7951-4EE7-8B26-5FFB29D81F5A}"/>
          </ac:spMkLst>
        </pc:spChg>
        <pc:spChg chg="mod">
          <ac:chgData name="Amandeep Singh" userId="192f9da3-bd5c-42c3-8f41-80b8549e6782" providerId="ADAL" clId="{F830C17E-9D64-4BEF-A194-2F47D1141FB7}" dt="2021-06-16T19:34:13.929" v="1202"/>
          <ac:spMkLst>
            <pc:docMk/>
            <pc:sldMk cId="2584029683" sldId="257"/>
            <ac:spMk id="50" creationId="{B1ACF445-6598-44B5-B815-6E1BE3593C45}"/>
          </ac:spMkLst>
        </pc:spChg>
        <pc:spChg chg="mod">
          <ac:chgData name="Amandeep Singh" userId="192f9da3-bd5c-42c3-8f41-80b8549e6782" providerId="ADAL" clId="{F830C17E-9D64-4BEF-A194-2F47D1141FB7}" dt="2021-06-16T19:34:13.929" v="1202"/>
          <ac:spMkLst>
            <pc:docMk/>
            <pc:sldMk cId="2584029683" sldId="257"/>
            <ac:spMk id="51" creationId="{32FD18E4-3CE7-4808-AD55-4487C2D6F60D}"/>
          </ac:spMkLst>
        </pc:spChg>
        <pc:spChg chg="mod">
          <ac:chgData name="Amandeep Singh" userId="192f9da3-bd5c-42c3-8f41-80b8549e6782" providerId="ADAL" clId="{F830C17E-9D64-4BEF-A194-2F47D1141FB7}" dt="2021-06-16T19:34:13.929" v="1202"/>
          <ac:spMkLst>
            <pc:docMk/>
            <pc:sldMk cId="2584029683" sldId="257"/>
            <ac:spMk id="52" creationId="{38FCD387-E9DB-4119-A5AB-18480D954DF6}"/>
          </ac:spMkLst>
        </pc:spChg>
        <pc:grpChg chg="add del mod">
          <ac:chgData name="Amandeep Singh" userId="192f9da3-bd5c-42c3-8f41-80b8549e6782" providerId="ADAL" clId="{F830C17E-9D64-4BEF-A194-2F47D1141FB7}" dt="2021-06-10T23:11:56.939" v="757" actId="164"/>
          <ac:grpSpMkLst>
            <pc:docMk/>
            <pc:sldMk cId="2584029683" sldId="257"/>
            <ac:grpSpMk id="2" creationId="{501C538E-2D3B-4A28-8469-BD82AD38343F}"/>
          </ac:grpSpMkLst>
        </pc:grpChg>
        <pc:grpChg chg="add del mod">
          <ac:chgData name="Amandeep Singh" userId="192f9da3-bd5c-42c3-8f41-80b8549e6782" providerId="ADAL" clId="{F830C17E-9D64-4BEF-A194-2F47D1141FB7}" dt="2021-06-10T23:11:38.048" v="750" actId="478"/>
          <ac:grpSpMkLst>
            <pc:docMk/>
            <pc:sldMk cId="2584029683" sldId="257"/>
            <ac:grpSpMk id="6" creationId="{2BBE670F-DD53-4FA8-BE51-0C3D23A6964A}"/>
          </ac:grpSpMkLst>
        </pc:grpChg>
        <pc:grpChg chg="add mod">
          <ac:chgData name="Amandeep Singh" userId="192f9da3-bd5c-42c3-8f41-80b8549e6782" providerId="ADAL" clId="{F830C17E-9D64-4BEF-A194-2F47D1141FB7}" dt="2021-06-16T19:34:28.209" v="1206" actId="14100"/>
          <ac:grpSpMkLst>
            <pc:docMk/>
            <pc:sldMk cId="2584029683" sldId="257"/>
            <ac:grpSpMk id="20" creationId="{ECDD144E-41BC-4488-A602-AC1B6ECC6F48}"/>
          </ac:grpSpMkLst>
        </pc:grpChg>
        <pc:grpChg chg="add del mod">
          <ac:chgData name="Amandeep Singh" userId="192f9da3-bd5c-42c3-8f41-80b8549e6782" providerId="ADAL" clId="{F830C17E-9D64-4BEF-A194-2F47D1141FB7}" dt="2021-06-16T19:34:09.396" v="1201" actId="478"/>
          <ac:grpSpMkLst>
            <pc:docMk/>
            <pc:sldMk cId="2584029683" sldId="257"/>
            <ac:grpSpMk id="30" creationId="{101D4DEB-7FBE-4D9F-BF97-CE6DA62155D5}"/>
          </ac:grpSpMkLst>
        </pc:grpChg>
        <pc:graphicFrameChg chg="mod modGraphic">
          <ac:chgData name="Amandeep Singh" userId="192f9da3-bd5c-42c3-8f41-80b8549e6782" providerId="ADAL" clId="{F830C17E-9D64-4BEF-A194-2F47D1141FB7}" dt="2021-06-16T19:34:25.860" v="1205" actId="1076"/>
          <ac:graphicFrameMkLst>
            <pc:docMk/>
            <pc:sldMk cId="2584029683" sldId="257"/>
            <ac:graphicFrameMk id="35" creationId="{8ED9BE5A-E89B-43D7-B6FE-223D219DC8AD}"/>
          </ac:graphicFrameMkLst>
        </pc:graphicFrameChg>
        <pc:picChg chg="del">
          <ac:chgData name="Amandeep Singh" userId="192f9da3-bd5c-42c3-8f41-80b8549e6782" providerId="ADAL" clId="{F830C17E-9D64-4BEF-A194-2F47D1141FB7}" dt="2021-06-07T23:04:17.197" v="378" actId="478"/>
          <ac:picMkLst>
            <pc:docMk/>
            <pc:sldMk cId="2584029683" sldId="257"/>
            <ac:picMk id="2" creationId="{EC0E946A-E16F-4B64-A97E-8322F4566FEC}"/>
          </ac:picMkLst>
        </pc:picChg>
        <pc:inkChg chg="add del mod topLvl">
          <ac:chgData name="Amandeep Singh" userId="192f9da3-bd5c-42c3-8f41-80b8549e6782" providerId="ADAL" clId="{F830C17E-9D64-4BEF-A194-2F47D1141FB7}" dt="2021-06-10T23:11:58.019" v="758"/>
          <ac:inkMkLst>
            <pc:docMk/>
            <pc:sldMk cId="2584029683" sldId="257"/>
            <ac:inkMk id="16" creationId="{E92A447A-9706-4D76-8740-138046822EAF}"/>
          </ac:inkMkLst>
        </pc:inkChg>
        <pc:inkChg chg="mod">
          <ac:chgData name="Amandeep Singh" userId="192f9da3-bd5c-42c3-8f41-80b8549e6782" providerId="ADAL" clId="{F830C17E-9D64-4BEF-A194-2F47D1141FB7}" dt="2021-06-16T19:34:13.929" v="1202"/>
          <ac:inkMkLst>
            <pc:docMk/>
            <pc:sldMk cId="2584029683" sldId="257"/>
            <ac:inkMk id="21" creationId="{CAC68E79-FAD4-407A-813B-BE8B5E28E623}"/>
          </ac:inkMkLst>
        </pc:inkChg>
        <pc:inkChg chg="mod">
          <ac:chgData name="Amandeep Singh" userId="192f9da3-bd5c-42c3-8f41-80b8549e6782" providerId="ADAL" clId="{F830C17E-9D64-4BEF-A194-2F47D1141FB7}" dt="2021-06-10T23:12:02.029" v="759"/>
          <ac:inkMkLst>
            <pc:docMk/>
            <pc:sldMk cId="2584029683" sldId="257"/>
            <ac:inkMk id="31" creationId="{4391B21E-A153-450C-9BD6-33AABE7B2D13}"/>
          </ac:inkMkLst>
        </pc:inkChg>
      </pc:sldChg>
      <pc:sldChg chg="addSp delSp modSp mod setBg">
        <pc:chgData name="Amandeep Singh" userId="192f9da3-bd5c-42c3-8f41-80b8549e6782" providerId="ADAL" clId="{F830C17E-9D64-4BEF-A194-2F47D1141FB7}" dt="2021-06-16T19:32:16.402" v="1179" actId="1076"/>
        <pc:sldMkLst>
          <pc:docMk/>
          <pc:sldMk cId="1224155370" sldId="264"/>
        </pc:sldMkLst>
        <pc:spChg chg="mod">
          <ac:chgData name="Amandeep Singh" userId="192f9da3-bd5c-42c3-8f41-80b8549e6782" providerId="ADAL" clId="{F830C17E-9D64-4BEF-A194-2F47D1141FB7}" dt="2021-06-16T19:25:59.121" v="1131" actId="108"/>
          <ac:spMkLst>
            <pc:docMk/>
            <pc:sldMk cId="1224155370" sldId="264"/>
            <ac:spMk id="3" creationId="{064AC8D0-A66E-41D5-B6F4-6AC57CBE7996}"/>
          </ac:spMkLst>
        </pc:spChg>
        <pc:spChg chg="add mod topLvl">
          <ac:chgData name="Amandeep Singh" userId="192f9da3-bd5c-42c3-8f41-80b8549e6782" providerId="ADAL" clId="{F830C17E-9D64-4BEF-A194-2F47D1141FB7}" dt="2021-06-16T19:25:57.352" v="1130" actId="108"/>
          <ac:spMkLst>
            <pc:docMk/>
            <pc:sldMk cId="1224155370" sldId="264"/>
            <ac:spMk id="5" creationId="{0859C3C0-3977-4026-AE61-604B01050953}"/>
          </ac:spMkLst>
        </pc:spChg>
        <pc:spChg chg="add del mod topLvl">
          <ac:chgData name="Amandeep Singh" userId="192f9da3-bd5c-42c3-8f41-80b8549e6782" providerId="ADAL" clId="{F830C17E-9D64-4BEF-A194-2F47D1141FB7}" dt="2021-06-09T23:37:55.477" v="688" actId="478"/>
          <ac:spMkLst>
            <pc:docMk/>
            <pc:sldMk cId="1224155370" sldId="264"/>
            <ac:spMk id="7" creationId="{96913426-BB66-49E5-B061-704EE06CE2A9}"/>
          </ac:spMkLst>
        </pc:spChg>
        <pc:spChg chg="add del mod topLvl">
          <ac:chgData name="Amandeep Singh" userId="192f9da3-bd5c-42c3-8f41-80b8549e6782" providerId="ADAL" clId="{F830C17E-9D64-4BEF-A194-2F47D1141FB7}" dt="2021-06-09T23:37:55.477" v="688" actId="478"/>
          <ac:spMkLst>
            <pc:docMk/>
            <pc:sldMk cId="1224155370" sldId="264"/>
            <ac:spMk id="8" creationId="{821956E6-50A6-4E25-9BF6-1D211C91E8FB}"/>
          </ac:spMkLst>
        </pc:spChg>
        <pc:spChg chg="mod">
          <ac:chgData name="Amandeep Singh" userId="192f9da3-bd5c-42c3-8f41-80b8549e6782" providerId="ADAL" clId="{F830C17E-9D64-4BEF-A194-2F47D1141FB7}" dt="2021-06-16T19:32:16.402" v="1179" actId="1076"/>
          <ac:spMkLst>
            <pc:docMk/>
            <pc:sldMk cId="1224155370" sldId="264"/>
            <ac:spMk id="10" creationId="{67239103-D575-423F-8B20-3CE1A52423B7}"/>
          </ac:spMkLst>
        </pc:spChg>
        <pc:spChg chg="mod topLvl">
          <ac:chgData name="Amandeep Singh" userId="192f9da3-bd5c-42c3-8f41-80b8549e6782" providerId="ADAL" clId="{F830C17E-9D64-4BEF-A194-2F47D1141FB7}" dt="2021-06-09T20:08:59.507" v="587" actId="165"/>
          <ac:spMkLst>
            <pc:docMk/>
            <pc:sldMk cId="1224155370" sldId="264"/>
            <ac:spMk id="11" creationId="{CDA188C9-3A60-4AAE-9E98-4A4277FEEC20}"/>
          </ac:spMkLst>
        </pc:spChg>
        <pc:spChg chg="topLvl">
          <ac:chgData name="Amandeep Singh" userId="192f9da3-bd5c-42c3-8f41-80b8549e6782" providerId="ADAL" clId="{F830C17E-9D64-4BEF-A194-2F47D1141FB7}" dt="2021-06-09T20:08:59.507" v="587" actId="165"/>
          <ac:spMkLst>
            <pc:docMk/>
            <pc:sldMk cId="1224155370" sldId="264"/>
            <ac:spMk id="12" creationId="{D9485679-7BCB-4CCD-9890-F92083DDEA85}"/>
          </ac:spMkLst>
        </pc:spChg>
        <pc:spChg chg="mod topLvl">
          <ac:chgData name="Amandeep Singh" userId="192f9da3-bd5c-42c3-8f41-80b8549e6782" providerId="ADAL" clId="{F830C17E-9D64-4BEF-A194-2F47D1141FB7}" dt="2021-06-16T19:31:16.117" v="1175" actId="108"/>
          <ac:spMkLst>
            <pc:docMk/>
            <pc:sldMk cId="1224155370" sldId="264"/>
            <ac:spMk id="13" creationId="{284D2E54-D0CC-4599-9E43-1420C7835110}"/>
          </ac:spMkLst>
        </pc:spChg>
        <pc:spChg chg="mod topLvl">
          <ac:chgData name="Amandeep Singh" userId="192f9da3-bd5c-42c3-8f41-80b8549e6782" providerId="ADAL" clId="{F830C17E-9D64-4BEF-A194-2F47D1141FB7}" dt="2021-06-16T19:31:12.811" v="1174" actId="108"/>
          <ac:spMkLst>
            <pc:docMk/>
            <pc:sldMk cId="1224155370" sldId="264"/>
            <ac:spMk id="14" creationId="{6CA68921-3D11-41E4-B391-43822A352E37}"/>
          </ac:spMkLst>
        </pc:spChg>
        <pc:spChg chg="mod topLvl">
          <ac:chgData name="Amandeep Singh" userId="192f9da3-bd5c-42c3-8f41-80b8549e6782" providerId="ADAL" clId="{F830C17E-9D64-4BEF-A194-2F47D1141FB7}" dt="2021-06-16T19:31:07.153" v="1172" actId="108"/>
          <ac:spMkLst>
            <pc:docMk/>
            <pc:sldMk cId="1224155370" sldId="264"/>
            <ac:spMk id="15" creationId="{12534374-BCD9-487D-BA6E-1D2E5FC0884D}"/>
          </ac:spMkLst>
        </pc:spChg>
        <pc:spChg chg="add mod">
          <ac:chgData name="Amandeep Singh" userId="192f9da3-bd5c-42c3-8f41-80b8549e6782" providerId="ADAL" clId="{F830C17E-9D64-4BEF-A194-2F47D1141FB7}" dt="2021-06-16T19:30:04.971" v="1164" actId="255"/>
          <ac:spMkLst>
            <pc:docMk/>
            <pc:sldMk cId="1224155370" sldId="264"/>
            <ac:spMk id="17" creationId="{962CC5A3-E4F6-4D80-81F5-789B75A35631}"/>
          </ac:spMkLst>
        </pc:spChg>
        <pc:spChg chg="add mod">
          <ac:chgData name="Amandeep Singh" userId="192f9da3-bd5c-42c3-8f41-80b8549e6782" providerId="ADAL" clId="{F830C17E-9D64-4BEF-A194-2F47D1141FB7}" dt="2021-06-16T19:29:09.120" v="1156" actId="255"/>
          <ac:spMkLst>
            <pc:docMk/>
            <pc:sldMk cId="1224155370" sldId="264"/>
            <ac:spMk id="18" creationId="{99220916-5964-4ED1-8660-5BE717822777}"/>
          </ac:spMkLst>
        </pc:spChg>
        <pc:spChg chg="add mod">
          <ac:chgData name="Amandeep Singh" userId="192f9da3-bd5c-42c3-8f41-80b8549e6782" providerId="ADAL" clId="{F830C17E-9D64-4BEF-A194-2F47D1141FB7}" dt="2021-06-16T19:29:16.754" v="1157" actId="255"/>
          <ac:spMkLst>
            <pc:docMk/>
            <pc:sldMk cId="1224155370" sldId="264"/>
            <ac:spMk id="19" creationId="{FC82B98C-0321-4A28-9F0E-6A94724B526C}"/>
          </ac:spMkLst>
        </pc:spChg>
        <pc:spChg chg="add mod">
          <ac:chgData name="Amandeep Singh" userId="192f9da3-bd5c-42c3-8f41-80b8549e6782" providerId="ADAL" clId="{F830C17E-9D64-4BEF-A194-2F47D1141FB7}" dt="2021-06-16T19:25:59.644" v="1132" actId="108"/>
          <ac:spMkLst>
            <pc:docMk/>
            <pc:sldMk cId="1224155370" sldId="264"/>
            <ac:spMk id="20" creationId="{B2123593-BC6A-4CF3-AF1B-2589D24610C4}"/>
          </ac:spMkLst>
        </pc:spChg>
        <pc:spChg chg="mod topLvl">
          <ac:chgData name="Amandeep Singh" userId="192f9da3-bd5c-42c3-8f41-80b8549e6782" providerId="ADAL" clId="{F830C17E-9D64-4BEF-A194-2F47D1141FB7}" dt="2021-06-16T19:31:10.341" v="1173" actId="108"/>
          <ac:spMkLst>
            <pc:docMk/>
            <pc:sldMk cId="1224155370" sldId="264"/>
            <ac:spMk id="21" creationId="{1B526CDC-7946-43A8-9086-3049145BEF8A}"/>
          </ac:spMkLst>
        </pc:spChg>
        <pc:spChg chg="add mod">
          <ac:chgData name="Amandeep Singh" userId="192f9da3-bd5c-42c3-8f41-80b8549e6782" providerId="ADAL" clId="{F830C17E-9D64-4BEF-A194-2F47D1141FB7}" dt="2021-06-16T19:31:51.258" v="1177" actId="108"/>
          <ac:spMkLst>
            <pc:docMk/>
            <pc:sldMk cId="1224155370" sldId="264"/>
            <ac:spMk id="23" creationId="{C987651B-334D-4B13-8CE0-BB9271AF7724}"/>
          </ac:spMkLst>
        </pc:spChg>
        <pc:spChg chg="mod topLvl">
          <ac:chgData name="Amandeep Singh" userId="192f9da3-bd5c-42c3-8f41-80b8549e6782" providerId="ADAL" clId="{F830C17E-9D64-4BEF-A194-2F47D1141FB7}" dt="2021-06-16T19:30:50.688" v="1171" actId="20577"/>
          <ac:spMkLst>
            <pc:docMk/>
            <pc:sldMk cId="1224155370" sldId="264"/>
            <ac:spMk id="27" creationId="{4E7EB817-567A-4250-AA92-329F433F3203}"/>
          </ac:spMkLst>
        </pc:spChg>
        <pc:spChg chg="del topLvl">
          <ac:chgData name="Amandeep Singh" userId="192f9da3-bd5c-42c3-8f41-80b8549e6782" providerId="ADAL" clId="{F830C17E-9D64-4BEF-A194-2F47D1141FB7}" dt="2021-06-09T23:37:55.477" v="688" actId="478"/>
          <ac:spMkLst>
            <pc:docMk/>
            <pc:sldMk cId="1224155370" sldId="264"/>
            <ac:spMk id="28" creationId="{6B925F8A-D5A0-445A-9019-EAFE9A7E0879}"/>
          </ac:spMkLst>
        </pc:spChg>
        <pc:spChg chg="mod">
          <ac:chgData name="Amandeep Singh" userId="192f9da3-bd5c-42c3-8f41-80b8549e6782" providerId="ADAL" clId="{F830C17E-9D64-4BEF-A194-2F47D1141FB7}" dt="2021-06-07T23:16:19.702" v="489" actId="1076"/>
          <ac:spMkLst>
            <pc:docMk/>
            <pc:sldMk cId="1224155370" sldId="264"/>
            <ac:spMk id="30" creationId="{94CDEF3C-ECFD-44E7-9EE0-A890ABFDBB5E}"/>
          </ac:spMkLst>
        </pc:spChg>
        <pc:spChg chg="mod">
          <ac:chgData name="Amandeep Singh" userId="192f9da3-bd5c-42c3-8f41-80b8549e6782" providerId="ADAL" clId="{F830C17E-9D64-4BEF-A194-2F47D1141FB7}" dt="2021-06-07T23:16:13.701" v="488" actId="1076"/>
          <ac:spMkLst>
            <pc:docMk/>
            <pc:sldMk cId="1224155370" sldId="264"/>
            <ac:spMk id="31" creationId="{1D7EC73B-0B75-481F-9215-67645BE886AC}"/>
          </ac:spMkLst>
        </pc:spChg>
        <pc:spChg chg="mod">
          <ac:chgData name="Amandeep Singh" userId="192f9da3-bd5c-42c3-8f41-80b8549e6782" providerId="ADAL" clId="{F830C17E-9D64-4BEF-A194-2F47D1141FB7}" dt="2021-06-07T23:16:37.987" v="491" actId="1076"/>
          <ac:spMkLst>
            <pc:docMk/>
            <pc:sldMk cId="1224155370" sldId="264"/>
            <ac:spMk id="32" creationId="{942FC82D-E33A-412F-A8C7-0F695B48EDA5}"/>
          </ac:spMkLst>
        </pc:spChg>
        <pc:spChg chg="mod">
          <ac:chgData name="Amandeep Singh" userId="192f9da3-bd5c-42c3-8f41-80b8549e6782" providerId="ADAL" clId="{F830C17E-9D64-4BEF-A194-2F47D1141FB7}" dt="2021-06-07T23:16:31.034" v="490" actId="1076"/>
          <ac:spMkLst>
            <pc:docMk/>
            <pc:sldMk cId="1224155370" sldId="264"/>
            <ac:spMk id="33" creationId="{455136BA-FF64-4584-AD76-BA2183031319}"/>
          </ac:spMkLst>
        </pc:spChg>
        <pc:grpChg chg="del topLvl">
          <ac:chgData name="Amandeep Singh" userId="192f9da3-bd5c-42c3-8f41-80b8549e6782" providerId="ADAL" clId="{F830C17E-9D64-4BEF-A194-2F47D1141FB7}" dt="2021-06-07T22:35:02.598" v="52" actId="165"/>
          <ac:grpSpMkLst>
            <pc:docMk/>
            <pc:sldMk cId="1224155370" sldId="264"/>
            <ac:grpSpMk id="2" creationId="{88AA38BD-4157-4580-9F29-0EE76E8A6D5C}"/>
          </ac:grpSpMkLst>
        </pc:grpChg>
        <pc:grpChg chg="del topLvl">
          <ac:chgData name="Amandeep Singh" userId="192f9da3-bd5c-42c3-8f41-80b8549e6782" providerId="ADAL" clId="{F830C17E-9D64-4BEF-A194-2F47D1141FB7}" dt="2021-06-07T22:34:58.829" v="51" actId="165"/>
          <ac:grpSpMkLst>
            <pc:docMk/>
            <pc:sldMk cId="1224155370" sldId="264"/>
            <ac:grpSpMk id="3" creationId="{FC907BCC-6BBF-4BE7-92E7-B4C765A40F1A}"/>
          </ac:grpSpMkLst>
        </pc:grpChg>
        <pc:grpChg chg="del">
          <ac:chgData name="Amandeep Singh" userId="192f9da3-bd5c-42c3-8f41-80b8549e6782" providerId="ADAL" clId="{F830C17E-9D64-4BEF-A194-2F47D1141FB7}" dt="2021-06-07T22:34:53.516" v="50" actId="165"/>
          <ac:grpSpMkLst>
            <pc:docMk/>
            <pc:sldMk cId="1224155370" sldId="264"/>
            <ac:grpSpMk id="4" creationId="{7263AF86-0A81-49A2-8BCF-2349A06A325F}"/>
          </ac:grpSpMkLst>
        </pc:grpChg>
        <pc:grpChg chg="mod">
          <ac:chgData name="Amandeep Singh" userId="192f9da3-bd5c-42c3-8f41-80b8549e6782" providerId="ADAL" clId="{F830C17E-9D64-4BEF-A194-2F47D1141FB7}" dt="2021-06-16T19:31:56.784" v="1178" actId="14100"/>
          <ac:grpSpMkLst>
            <pc:docMk/>
            <pc:sldMk cId="1224155370" sldId="264"/>
            <ac:grpSpMk id="4" creationId="{ED6AFCA3-BA6C-448A-9700-8D8D02E1D87B}"/>
          </ac:grpSpMkLst>
        </pc:grpChg>
        <pc:grpChg chg="add del mod">
          <ac:chgData name="Amandeep Singh" userId="192f9da3-bd5c-42c3-8f41-80b8549e6782" providerId="ADAL" clId="{F830C17E-9D64-4BEF-A194-2F47D1141FB7}" dt="2021-06-07T22:53:06.274" v="270" actId="165"/>
          <ac:grpSpMkLst>
            <pc:docMk/>
            <pc:sldMk cId="1224155370" sldId="264"/>
            <ac:grpSpMk id="6" creationId="{13168486-4EA0-4F39-895D-5CB6B7423792}"/>
          </ac:grpSpMkLst>
        </pc:grpChg>
        <pc:grpChg chg="del topLvl">
          <ac:chgData name="Amandeep Singh" userId="192f9da3-bd5c-42c3-8f41-80b8549e6782" providerId="ADAL" clId="{F830C17E-9D64-4BEF-A194-2F47D1141FB7}" dt="2021-06-07T22:35:15.453" v="53" actId="165"/>
          <ac:grpSpMkLst>
            <pc:docMk/>
            <pc:sldMk cId="1224155370" sldId="264"/>
            <ac:grpSpMk id="9" creationId="{2020B412-894C-4BC8-9313-EA836F15FF59}"/>
          </ac:grpSpMkLst>
        </pc:grpChg>
        <pc:grpChg chg="add del mod">
          <ac:chgData name="Amandeep Singh" userId="192f9da3-bd5c-42c3-8f41-80b8549e6782" providerId="ADAL" clId="{F830C17E-9D64-4BEF-A194-2F47D1141FB7}" dt="2021-06-09T20:08:59.507" v="587" actId="165"/>
          <ac:grpSpMkLst>
            <pc:docMk/>
            <pc:sldMk cId="1224155370" sldId="264"/>
            <ac:grpSpMk id="16" creationId="{291B5D22-242E-4EFE-961D-A48E3037A32F}"/>
          </ac:grpSpMkLst>
        </pc:grpChg>
        <pc:grpChg chg="mod">
          <ac:chgData name="Amandeep Singh" userId="192f9da3-bd5c-42c3-8f41-80b8549e6782" providerId="ADAL" clId="{F830C17E-9D64-4BEF-A194-2F47D1141FB7}" dt="2021-06-07T23:16:10.310" v="487" actId="14100"/>
          <ac:grpSpMkLst>
            <pc:docMk/>
            <pc:sldMk cId="1224155370" sldId="264"/>
            <ac:grpSpMk id="29" creationId="{5FF7926C-E702-4CB8-A140-17A007A11B9F}"/>
          </ac:grpSpMkLst>
        </pc:grpChg>
        <pc:inkChg chg="topLvl">
          <ac:chgData name="Amandeep Singh" userId="192f9da3-bd5c-42c3-8f41-80b8549e6782" providerId="ADAL" clId="{F830C17E-9D64-4BEF-A194-2F47D1141FB7}" dt="2021-06-09T20:08:59.507" v="587" actId="165"/>
          <ac:inkMkLst>
            <pc:docMk/>
            <pc:sldMk cId="1224155370" sldId="264"/>
            <ac:inkMk id="83" creationId="{D95B7D53-5C04-4EBC-B402-BADAFED6A271}"/>
          </ac:inkMkLst>
        </pc:inkChg>
      </pc:sldChg>
      <pc:sldChg chg="addSp delSp modSp mod">
        <pc:chgData name="Amandeep Singh" userId="192f9da3-bd5c-42c3-8f41-80b8549e6782" providerId="ADAL" clId="{F830C17E-9D64-4BEF-A194-2F47D1141FB7}" dt="2021-06-16T19:35:29.067" v="1218" actId="1076"/>
        <pc:sldMkLst>
          <pc:docMk/>
          <pc:sldMk cId="801181363" sldId="265"/>
        </pc:sldMkLst>
        <pc:spChg chg="mod">
          <ac:chgData name="Amandeep Singh" userId="192f9da3-bd5c-42c3-8f41-80b8549e6782" providerId="ADAL" clId="{F830C17E-9D64-4BEF-A194-2F47D1141FB7}" dt="2021-06-16T19:35:21.641" v="1215" actId="1076"/>
          <ac:spMkLst>
            <pc:docMk/>
            <pc:sldMk cId="801181363" sldId="265"/>
            <ac:spMk id="4" creationId="{C07C45B8-4983-4FFB-BD8B-B2F43686E476}"/>
          </ac:spMkLst>
        </pc:spChg>
        <pc:spChg chg="mod">
          <ac:chgData name="Amandeep Singh" userId="192f9da3-bd5c-42c3-8f41-80b8549e6782" providerId="ADAL" clId="{F830C17E-9D64-4BEF-A194-2F47D1141FB7}" dt="2021-06-07T23:06:31.637" v="389"/>
          <ac:spMkLst>
            <pc:docMk/>
            <pc:sldMk cId="801181363" sldId="265"/>
            <ac:spMk id="7" creationId="{41B7A539-9751-4D5C-8A6C-E1CDD303AB83}"/>
          </ac:spMkLst>
        </pc:spChg>
        <pc:spChg chg="mod">
          <ac:chgData name="Amandeep Singh" userId="192f9da3-bd5c-42c3-8f41-80b8549e6782" providerId="ADAL" clId="{F830C17E-9D64-4BEF-A194-2F47D1141FB7}" dt="2021-06-07T23:06:31.637" v="389"/>
          <ac:spMkLst>
            <pc:docMk/>
            <pc:sldMk cId="801181363" sldId="265"/>
            <ac:spMk id="8" creationId="{D9466F75-E8D6-4F4D-95C8-599F607CAC57}"/>
          </ac:spMkLst>
        </pc:spChg>
        <pc:spChg chg="mod">
          <ac:chgData name="Amandeep Singh" userId="192f9da3-bd5c-42c3-8f41-80b8549e6782" providerId="ADAL" clId="{F830C17E-9D64-4BEF-A194-2F47D1141FB7}" dt="2021-06-10T23:12:49.180" v="767" actId="6549"/>
          <ac:spMkLst>
            <pc:docMk/>
            <pc:sldMk cId="801181363" sldId="265"/>
            <ac:spMk id="9" creationId="{8E828961-57DE-48F9-B84F-FD8C3193C0AF}"/>
          </ac:spMkLst>
        </pc:spChg>
        <pc:spChg chg="mod">
          <ac:chgData name="Amandeep Singh" userId="192f9da3-bd5c-42c3-8f41-80b8549e6782" providerId="ADAL" clId="{F830C17E-9D64-4BEF-A194-2F47D1141FB7}" dt="2021-06-07T23:06:31.637" v="389"/>
          <ac:spMkLst>
            <pc:docMk/>
            <pc:sldMk cId="801181363" sldId="265"/>
            <ac:spMk id="10" creationId="{EA903E29-BC93-4951-8F2A-FB57E5525999}"/>
          </ac:spMkLst>
        </pc:spChg>
        <pc:spChg chg="mod">
          <ac:chgData name="Amandeep Singh" userId="192f9da3-bd5c-42c3-8f41-80b8549e6782" providerId="ADAL" clId="{F830C17E-9D64-4BEF-A194-2F47D1141FB7}" dt="2021-06-07T23:06:31.637" v="389"/>
          <ac:spMkLst>
            <pc:docMk/>
            <pc:sldMk cId="801181363" sldId="265"/>
            <ac:spMk id="11" creationId="{1AB87CB9-BC9A-49E8-993D-FF366EDC157A}"/>
          </ac:spMkLst>
        </pc:spChg>
        <pc:spChg chg="mod">
          <ac:chgData name="Amandeep Singh" userId="192f9da3-bd5c-42c3-8f41-80b8549e6782" providerId="ADAL" clId="{F830C17E-9D64-4BEF-A194-2F47D1141FB7}" dt="2021-06-07T23:06:31.637" v="389"/>
          <ac:spMkLst>
            <pc:docMk/>
            <pc:sldMk cId="801181363" sldId="265"/>
            <ac:spMk id="12" creationId="{6B6E05CF-9FCD-4BA6-9EC4-D82EC9584952}"/>
          </ac:spMkLst>
        </pc:spChg>
        <pc:spChg chg="mod">
          <ac:chgData name="Amandeep Singh" userId="192f9da3-bd5c-42c3-8f41-80b8549e6782" providerId="ADAL" clId="{F830C17E-9D64-4BEF-A194-2F47D1141FB7}" dt="2021-06-07T23:06:31.637" v="389"/>
          <ac:spMkLst>
            <pc:docMk/>
            <pc:sldMk cId="801181363" sldId="265"/>
            <ac:spMk id="13" creationId="{C0E20D87-5C26-4EF0-8899-956BBDAA4439}"/>
          </ac:spMkLst>
        </pc:spChg>
        <pc:spChg chg="mod">
          <ac:chgData name="Amandeep Singh" userId="192f9da3-bd5c-42c3-8f41-80b8549e6782" providerId="ADAL" clId="{F830C17E-9D64-4BEF-A194-2F47D1141FB7}" dt="2021-06-07T23:06:31.637" v="389"/>
          <ac:spMkLst>
            <pc:docMk/>
            <pc:sldMk cId="801181363" sldId="265"/>
            <ac:spMk id="14" creationId="{F0A931CF-8282-4D7B-BFB4-2847836F568A}"/>
          </ac:spMkLst>
        </pc:spChg>
        <pc:spChg chg="mod">
          <ac:chgData name="Amandeep Singh" userId="192f9da3-bd5c-42c3-8f41-80b8549e6782" providerId="ADAL" clId="{F830C17E-9D64-4BEF-A194-2F47D1141FB7}" dt="2021-06-07T23:06:31.637" v="389"/>
          <ac:spMkLst>
            <pc:docMk/>
            <pc:sldMk cId="801181363" sldId="265"/>
            <ac:spMk id="15" creationId="{60EA91EE-9BFF-43AC-B66E-116484AD022B}"/>
          </ac:spMkLst>
        </pc:spChg>
        <pc:spChg chg="mod">
          <ac:chgData name="Amandeep Singh" userId="192f9da3-bd5c-42c3-8f41-80b8549e6782" providerId="ADAL" clId="{F830C17E-9D64-4BEF-A194-2F47D1141FB7}" dt="2021-06-10T23:12:52.756" v="769"/>
          <ac:spMkLst>
            <pc:docMk/>
            <pc:sldMk cId="801181363" sldId="265"/>
            <ac:spMk id="18" creationId="{71898A9A-2DDE-4F9C-A16B-6A327EF24218}"/>
          </ac:spMkLst>
        </pc:spChg>
        <pc:spChg chg="del mod">
          <ac:chgData name="Amandeep Singh" userId="192f9da3-bd5c-42c3-8f41-80b8549e6782" providerId="ADAL" clId="{F830C17E-9D64-4BEF-A194-2F47D1141FB7}" dt="2021-06-10T23:12:59.785" v="771" actId="478"/>
          <ac:spMkLst>
            <pc:docMk/>
            <pc:sldMk cId="801181363" sldId="265"/>
            <ac:spMk id="19" creationId="{3D18BD04-5B35-4303-B4E1-343B7C1AF124}"/>
          </ac:spMkLst>
        </pc:spChg>
        <pc:spChg chg="mod">
          <ac:chgData name="Amandeep Singh" userId="192f9da3-bd5c-42c3-8f41-80b8549e6782" providerId="ADAL" clId="{F830C17E-9D64-4BEF-A194-2F47D1141FB7}" dt="2021-06-10T23:12:52.756" v="769"/>
          <ac:spMkLst>
            <pc:docMk/>
            <pc:sldMk cId="801181363" sldId="265"/>
            <ac:spMk id="20" creationId="{B9F1EAA1-7CDE-4470-9FA2-77C5417EB8FB}"/>
          </ac:spMkLst>
        </pc:spChg>
        <pc:spChg chg="mod">
          <ac:chgData name="Amandeep Singh" userId="192f9da3-bd5c-42c3-8f41-80b8549e6782" providerId="ADAL" clId="{F830C17E-9D64-4BEF-A194-2F47D1141FB7}" dt="2021-06-10T23:12:52.756" v="769"/>
          <ac:spMkLst>
            <pc:docMk/>
            <pc:sldMk cId="801181363" sldId="265"/>
            <ac:spMk id="21" creationId="{92407E81-515A-44B6-B0AD-902CC5E4E0B8}"/>
          </ac:spMkLst>
        </pc:spChg>
        <pc:spChg chg="mod">
          <ac:chgData name="Amandeep Singh" userId="192f9da3-bd5c-42c3-8f41-80b8549e6782" providerId="ADAL" clId="{F830C17E-9D64-4BEF-A194-2F47D1141FB7}" dt="2021-06-16T19:35:14.732" v="1213"/>
          <ac:spMkLst>
            <pc:docMk/>
            <pc:sldMk cId="801181363" sldId="265"/>
            <ac:spMk id="22" creationId="{1FD4A7F8-5FFF-4DCC-A0A5-9FC8A30A5841}"/>
          </ac:spMkLst>
        </pc:spChg>
        <pc:spChg chg="mod">
          <ac:chgData name="Amandeep Singh" userId="192f9da3-bd5c-42c3-8f41-80b8549e6782" providerId="ADAL" clId="{F830C17E-9D64-4BEF-A194-2F47D1141FB7}" dt="2021-06-10T23:12:52.756" v="769"/>
          <ac:spMkLst>
            <pc:docMk/>
            <pc:sldMk cId="801181363" sldId="265"/>
            <ac:spMk id="22" creationId="{A3DA8204-2F6F-48A2-966D-71D11B196502}"/>
          </ac:spMkLst>
        </pc:spChg>
        <pc:spChg chg="mod">
          <ac:chgData name="Amandeep Singh" userId="192f9da3-bd5c-42c3-8f41-80b8549e6782" providerId="ADAL" clId="{F830C17E-9D64-4BEF-A194-2F47D1141FB7}" dt="2021-06-16T19:35:14.732" v="1213"/>
          <ac:spMkLst>
            <pc:docMk/>
            <pc:sldMk cId="801181363" sldId="265"/>
            <ac:spMk id="23" creationId="{6678DF9F-EC10-42EC-9EDC-F2A2D764BF29}"/>
          </ac:spMkLst>
        </pc:spChg>
        <pc:spChg chg="mod">
          <ac:chgData name="Amandeep Singh" userId="192f9da3-bd5c-42c3-8f41-80b8549e6782" providerId="ADAL" clId="{F830C17E-9D64-4BEF-A194-2F47D1141FB7}" dt="2021-06-10T23:12:52.756" v="769"/>
          <ac:spMkLst>
            <pc:docMk/>
            <pc:sldMk cId="801181363" sldId="265"/>
            <ac:spMk id="23" creationId="{D2C18724-52E5-4EA9-A817-A346B9247C8B}"/>
          </ac:spMkLst>
        </pc:spChg>
        <pc:spChg chg="mod">
          <ac:chgData name="Amandeep Singh" userId="192f9da3-bd5c-42c3-8f41-80b8549e6782" providerId="ADAL" clId="{F830C17E-9D64-4BEF-A194-2F47D1141FB7}" dt="2021-06-16T19:35:14.732" v="1213"/>
          <ac:spMkLst>
            <pc:docMk/>
            <pc:sldMk cId="801181363" sldId="265"/>
            <ac:spMk id="24" creationId="{9260A439-8EDF-421C-97D6-6C470900AFA2}"/>
          </ac:spMkLst>
        </pc:spChg>
        <pc:spChg chg="mod">
          <ac:chgData name="Amandeep Singh" userId="192f9da3-bd5c-42c3-8f41-80b8549e6782" providerId="ADAL" clId="{F830C17E-9D64-4BEF-A194-2F47D1141FB7}" dt="2021-06-10T23:12:52.756" v="769"/>
          <ac:spMkLst>
            <pc:docMk/>
            <pc:sldMk cId="801181363" sldId="265"/>
            <ac:spMk id="24" creationId="{F59694CE-E2FA-40EB-B45B-B306081DDAC5}"/>
          </ac:spMkLst>
        </pc:spChg>
        <pc:spChg chg="mod">
          <ac:chgData name="Amandeep Singh" userId="192f9da3-bd5c-42c3-8f41-80b8549e6782" providerId="ADAL" clId="{F830C17E-9D64-4BEF-A194-2F47D1141FB7}" dt="2021-06-10T23:12:52.756" v="769"/>
          <ac:spMkLst>
            <pc:docMk/>
            <pc:sldMk cId="801181363" sldId="265"/>
            <ac:spMk id="25" creationId="{13D08F7D-920A-4F85-8776-50834030B376}"/>
          </ac:spMkLst>
        </pc:spChg>
        <pc:spChg chg="mod">
          <ac:chgData name="Amandeep Singh" userId="192f9da3-bd5c-42c3-8f41-80b8549e6782" providerId="ADAL" clId="{F830C17E-9D64-4BEF-A194-2F47D1141FB7}" dt="2021-06-16T19:35:14.732" v="1213"/>
          <ac:spMkLst>
            <pc:docMk/>
            <pc:sldMk cId="801181363" sldId="265"/>
            <ac:spMk id="25" creationId="{94686EB4-83E3-43A2-89CD-A930422F200E}"/>
          </ac:spMkLst>
        </pc:spChg>
        <pc:spChg chg="mod">
          <ac:chgData name="Amandeep Singh" userId="192f9da3-bd5c-42c3-8f41-80b8549e6782" providerId="ADAL" clId="{F830C17E-9D64-4BEF-A194-2F47D1141FB7}" dt="2021-06-10T23:12:52.756" v="769"/>
          <ac:spMkLst>
            <pc:docMk/>
            <pc:sldMk cId="801181363" sldId="265"/>
            <ac:spMk id="26" creationId="{13896CE8-1003-4EAF-B5F0-780C02853432}"/>
          </ac:spMkLst>
        </pc:spChg>
        <pc:spChg chg="mod">
          <ac:chgData name="Amandeep Singh" userId="192f9da3-bd5c-42c3-8f41-80b8549e6782" providerId="ADAL" clId="{F830C17E-9D64-4BEF-A194-2F47D1141FB7}" dt="2021-06-16T19:35:14.732" v="1213"/>
          <ac:spMkLst>
            <pc:docMk/>
            <pc:sldMk cId="801181363" sldId="265"/>
            <ac:spMk id="26" creationId="{736D7E75-1906-4228-AE55-2DE1D683B507}"/>
          </ac:spMkLst>
        </pc:spChg>
        <pc:spChg chg="mod">
          <ac:chgData name="Amandeep Singh" userId="192f9da3-bd5c-42c3-8f41-80b8549e6782" providerId="ADAL" clId="{F830C17E-9D64-4BEF-A194-2F47D1141FB7}" dt="2021-06-10T23:12:52.756" v="769"/>
          <ac:spMkLst>
            <pc:docMk/>
            <pc:sldMk cId="801181363" sldId="265"/>
            <ac:spMk id="27" creationId="{1EB89349-BB2B-4A6B-AE1B-FDC631BF6615}"/>
          </ac:spMkLst>
        </pc:spChg>
        <pc:spChg chg="mod">
          <ac:chgData name="Amandeep Singh" userId="192f9da3-bd5c-42c3-8f41-80b8549e6782" providerId="ADAL" clId="{F830C17E-9D64-4BEF-A194-2F47D1141FB7}" dt="2021-06-16T19:35:14.732" v="1213"/>
          <ac:spMkLst>
            <pc:docMk/>
            <pc:sldMk cId="801181363" sldId="265"/>
            <ac:spMk id="27" creationId="{E93D4BA0-7C54-457D-813D-A30255723D14}"/>
          </ac:spMkLst>
        </pc:spChg>
        <pc:spChg chg="mod">
          <ac:chgData name="Amandeep Singh" userId="192f9da3-bd5c-42c3-8f41-80b8549e6782" providerId="ADAL" clId="{F830C17E-9D64-4BEF-A194-2F47D1141FB7}" dt="2021-06-16T19:35:14.732" v="1213"/>
          <ac:spMkLst>
            <pc:docMk/>
            <pc:sldMk cId="801181363" sldId="265"/>
            <ac:spMk id="28" creationId="{3D241290-5AFC-4873-AADA-A76E99144501}"/>
          </ac:spMkLst>
        </pc:spChg>
        <pc:spChg chg="mod">
          <ac:chgData name="Amandeep Singh" userId="192f9da3-bd5c-42c3-8f41-80b8549e6782" providerId="ADAL" clId="{F830C17E-9D64-4BEF-A194-2F47D1141FB7}" dt="2021-06-10T23:13:01.990" v="772" actId="6549"/>
          <ac:spMkLst>
            <pc:docMk/>
            <pc:sldMk cId="801181363" sldId="265"/>
            <ac:spMk id="28" creationId="{7C55DCA2-A27E-481F-96CA-9EC1BC17D160}"/>
          </ac:spMkLst>
        </pc:spChg>
        <pc:spChg chg="mod">
          <ac:chgData name="Amandeep Singh" userId="192f9da3-bd5c-42c3-8f41-80b8549e6782" providerId="ADAL" clId="{F830C17E-9D64-4BEF-A194-2F47D1141FB7}" dt="2021-06-16T19:35:14.732" v="1213"/>
          <ac:spMkLst>
            <pc:docMk/>
            <pc:sldMk cId="801181363" sldId="265"/>
            <ac:spMk id="29" creationId="{4D960C5E-C4DD-434B-A211-3594434C12C9}"/>
          </ac:spMkLst>
        </pc:spChg>
        <pc:spChg chg="mod">
          <ac:chgData name="Amandeep Singh" userId="192f9da3-bd5c-42c3-8f41-80b8549e6782" providerId="ADAL" clId="{F830C17E-9D64-4BEF-A194-2F47D1141FB7}" dt="2021-06-10T23:12:52.756" v="769"/>
          <ac:spMkLst>
            <pc:docMk/>
            <pc:sldMk cId="801181363" sldId="265"/>
            <ac:spMk id="29" creationId="{8BD08017-88C8-4A7A-9B1B-43D40F85D7AB}"/>
          </ac:spMkLst>
        </pc:spChg>
        <pc:spChg chg="mod">
          <ac:chgData name="Amandeep Singh" userId="192f9da3-bd5c-42c3-8f41-80b8549e6782" providerId="ADAL" clId="{F830C17E-9D64-4BEF-A194-2F47D1141FB7}" dt="2021-06-10T23:12:52.756" v="769"/>
          <ac:spMkLst>
            <pc:docMk/>
            <pc:sldMk cId="801181363" sldId="265"/>
            <ac:spMk id="30" creationId="{1EBEBB21-30D1-4036-8A5A-2D350CFA187D}"/>
          </ac:spMkLst>
        </pc:spChg>
        <pc:spChg chg="mod">
          <ac:chgData name="Amandeep Singh" userId="192f9da3-bd5c-42c3-8f41-80b8549e6782" providerId="ADAL" clId="{F830C17E-9D64-4BEF-A194-2F47D1141FB7}" dt="2021-06-16T19:35:14.732" v="1213"/>
          <ac:spMkLst>
            <pc:docMk/>
            <pc:sldMk cId="801181363" sldId="265"/>
            <ac:spMk id="30" creationId="{48B0DFFB-E5F7-4222-ACB4-71A783AFEE3A}"/>
          </ac:spMkLst>
        </pc:spChg>
        <pc:spChg chg="mod">
          <ac:chgData name="Amandeep Singh" userId="192f9da3-bd5c-42c3-8f41-80b8549e6782" providerId="ADAL" clId="{F830C17E-9D64-4BEF-A194-2F47D1141FB7}" dt="2021-06-10T23:13:10.275" v="774"/>
          <ac:spMkLst>
            <pc:docMk/>
            <pc:sldMk cId="801181363" sldId="265"/>
            <ac:spMk id="33" creationId="{6C38B8B9-D54B-448D-B343-78D24372913B}"/>
          </ac:spMkLst>
        </pc:spChg>
        <pc:spChg chg="mod">
          <ac:chgData name="Amandeep Singh" userId="192f9da3-bd5c-42c3-8f41-80b8549e6782" providerId="ADAL" clId="{F830C17E-9D64-4BEF-A194-2F47D1141FB7}" dt="2021-06-10T23:13:10.275" v="774"/>
          <ac:spMkLst>
            <pc:docMk/>
            <pc:sldMk cId="801181363" sldId="265"/>
            <ac:spMk id="34" creationId="{3728239B-FDF7-4C6B-A40B-1A103B6F81DB}"/>
          </ac:spMkLst>
        </pc:spChg>
        <pc:spChg chg="mod">
          <ac:chgData name="Amandeep Singh" userId="192f9da3-bd5c-42c3-8f41-80b8549e6782" providerId="ADAL" clId="{F830C17E-9D64-4BEF-A194-2F47D1141FB7}" dt="2021-06-10T23:13:10.275" v="774"/>
          <ac:spMkLst>
            <pc:docMk/>
            <pc:sldMk cId="801181363" sldId="265"/>
            <ac:spMk id="36" creationId="{4B96C4F9-173F-4758-95EB-1D445E572FBD}"/>
          </ac:spMkLst>
        </pc:spChg>
        <pc:spChg chg="mod">
          <ac:chgData name="Amandeep Singh" userId="192f9da3-bd5c-42c3-8f41-80b8549e6782" providerId="ADAL" clId="{F830C17E-9D64-4BEF-A194-2F47D1141FB7}" dt="2021-06-16T19:35:26.552" v="1217" actId="1076"/>
          <ac:spMkLst>
            <pc:docMk/>
            <pc:sldMk cId="801181363" sldId="265"/>
            <ac:spMk id="37" creationId="{C1B9BF59-FD78-4598-AEEA-8D4C555B37D4}"/>
          </ac:spMkLst>
        </pc:spChg>
        <pc:spChg chg="mod">
          <ac:chgData name="Amandeep Singh" userId="192f9da3-bd5c-42c3-8f41-80b8549e6782" providerId="ADAL" clId="{F830C17E-9D64-4BEF-A194-2F47D1141FB7}" dt="2021-06-10T23:13:10.275" v="774"/>
          <ac:spMkLst>
            <pc:docMk/>
            <pc:sldMk cId="801181363" sldId="265"/>
            <ac:spMk id="38" creationId="{2DEBA0A1-AC19-4A7B-B270-3461EECC4032}"/>
          </ac:spMkLst>
        </pc:spChg>
        <pc:spChg chg="mod">
          <ac:chgData name="Amandeep Singh" userId="192f9da3-bd5c-42c3-8f41-80b8549e6782" providerId="ADAL" clId="{F830C17E-9D64-4BEF-A194-2F47D1141FB7}" dt="2021-06-10T23:13:10.275" v="774"/>
          <ac:spMkLst>
            <pc:docMk/>
            <pc:sldMk cId="801181363" sldId="265"/>
            <ac:spMk id="39" creationId="{918BF793-8340-4711-88ED-318EF54CA279}"/>
          </ac:spMkLst>
        </pc:spChg>
        <pc:spChg chg="mod">
          <ac:chgData name="Amandeep Singh" userId="192f9da3-bd5c-42c3-8f41-80b8549e6782" providerId="ADAL" clId="{F830C17E-9D64-4BEF-A194-2F47D1141FB7}" dt="2021-06-10T23:13:10.275" v="774"/>
          <ac:spMkLst>
            <pc:docMk/>
            <pc:sldMk cId="801181363" sldId="265"/>
            <ac:spMk id="40" creationId="{1631D7D5-7B14-48E9-B9E2-C2037A8A8E5D}"/>
          </ac:spMkLst>
        </pc:spChg>
        <pc:spChg chg="mod">
          <ac:chgData name="Amandeep Singh" userId="192f9da3-bd5c-42c3-8f41-80b8549e6782" providerId="ADAL" clId="{F830C17E-9D64-4BEF-A194-2F47D1141FB7}" dt="2021-06-10T23:13:10.275" v="774"/>
          <ac:spMkLst>
            <pc:docMk/>
            <pc:sldMk cId="801181363" sldId="265"/>
            <ac:spMk id="41" creationId="{FA402FE5-E4F0-426B-912D-B4A5459ECBE0}"/>
          </ac:spMkLst>
        </pc:spChg>
        <pc:spChg chg="mod">
          <ac:chgData name="Amandeep Singh" userId="192f9da3-bd5c-42c3-8f41-80b8549e6782" providerId="ADAL" clId="{F830C17E-9D64-4BEF-A194-2F47D1141FB7}" dt="2021-06-10T23:13:10.275" v="774"/>
          <ac:spMkLst>
            <pc:docMk/>
            <pc:sldMk cId="801181363" sldId="265"/>
            <ac:spMk id="42" creationId="{EB522C91-DD6E-42FB-A9A5-20357FB97E8C}"/>
          </ac:spMkLst>
        </pc:spChg>
        <pc:spChg chg="mod">
          <ac:chgData name="Amandeep Singh" userId="192f9da3-bd5c-42c3-8f41-80b8549e6782" providerId="ADAL" clId="{F830C17E-9D64-4BEF-A194-2F47D1141FB7}" dt="2021-06-10T23:13:10.275" v="774"/>
          <ac:spMkLst>
            <pc:docMk/>
            <pc:sldMk cId="801181363" sldId="265"/>
            <ac:spMk id="43" creationId="{D6C506A7-7BEC-4E3D-9F3D-047AA200BD83}"/>
          </ac:spMkLst>
        </pc:spChg>
        <pc:spChg chg="mod">
          <ac:chgData name="Amandeep Singh" userId="192f9da3-bd5c-42c3-8f41-80b8549e6782" providerId="ADAL" clId="{F830C17E-9D64-4BEF-A194-2F47D1141FB7}" dt="2021-06-10T23:13:10.275" v="774"/>
          <ac:spMkLst>
            <pc:docMk/>
            <pc:sldMk cId="801181363" sldId="265"/>
            <ac:spMk id="44" creationId="{74FFBA26-FED3-459C-9C40-39320BE2B692}"/>
          </ac:spMkLst>
        </pc:spChg>
        <pc:spChg chg="mod">
          <ac:chgData name="Amandeep Singh" userId="192f9da3-bd5c-42c3-8f41-80b8549e6782" providerId="ADAL" clId="{F830C17E-9D64-4BEF-A194-2F47D1141FB7}" dt="2021-06-10T23:13:10.275" v="774"/>
          <ac:spMkLst>
            <pc:docMk/>
            <pc:sldMk cId="801181363" sldId="265"/>
            <ac:spMk id="45" creationId="{DB066CEF-2513-44A9-9AD5-EDB5FF12E4AE}"/>
          </ac:spMkLst>
        </pc:spChg>
        <pc:spChg chg="mod">
          <ac:chgData name="Amandeep Singh" userId="192f9da3-bd5c-42c3-8f41-80b8549e6782" providerId="ADAL" clId="{F830C17E-9D64-4BEF-A194-2F47D1141FB7}" dt="2021-06-10T23:16:56.365" v="805" actId="108"/>
          <ac:spMkLst>
            <pc:docMk/>
            <pc:sldMk cId="801181363" sldId="265"/>
            <ac:spMk id="46" creationId="{6C97397E-1297-4E21-8D10-0E5BC03E46D3}"/>
          </ac:spMkLst>
        </pc:spChg>
        <pc:spChg chg="mod">
          <ac:chgData name="Amandeep Singh" userId="192f9da3-bd5c-42c3-8f41-80b8549e6782" providerId="ADAL" clId="{F830C17E-9D64-4BEF-A194-2F47D1141FB7}" dt="2021-06-10T23:13:10.275" v="774"/>
          <ac:spMkLst>
            <pc:docMk/>
            <pc:sldMk cId="801181363" sldId="265"/>
            <ac:spMk id="47" creationId="{29E98985-BF79-4DDD-BA8D-F07EE2542387}"/>
          </ac:spMkLst>
        </pc:spChg>
        <pc:spChg chg="mod">
          <ac:chgData name="Amandeep Singh" userId="192f9da3-bd5c-42c3-8f41-80b8549e6782" providerId="ADAL" clId="{F830C17E-9D64-4BEF-A194-2F47D1141FB7}" dt="2021-06-16T19:35:14.732" v="1213"/>
          <ac:spMkLst>
            <pc:docMk/>
            <pc:sldMk cId="801181363" sldId="265"/>
            <ac:spMk id="48" creationId="{4A57C836-3523-40F2-9CC9-17F1761C2CCB}"/>
          </ac:spMkLst>
        </pc:spChg>
        <pc:spChg chg="mod">
          <ac:chgData name="Amandeep Singh" userId="192f9da3-bd5c-42c3-8f41-80b8549e6782" providerId="ADAL" clId="{F830C17E-9D64-4BEF-A194-2F47D1141FB7}" dt="2021-06-16T19:35:14.732" v="1213"/>
          <ac:spMkLst>
            <pc:docMk/>
            <pc:sldMk cId="801181363" sldId="265"/>
            <ac:spMk id="49" creationId="{031F18E1-46CD-4437-8976-AF8F3A5AAECF}"/>
          </ac:spMkLst>
        </pc:spChg>
        <pc:spChg chg="mod">
          <ac:chgData name="Amandeep Singh" userId="192f9da3-bd5c-42c3-8f41-80b8549e6782" providerId="ADAL" clId="{F830C17E-9D64-4BEF-A194-2F47D1141FB7}" dt="2021-06-16T19:35:14.732" v="1213"/>
          <ac:spMkLst>
            <pc:docMk/>
            <pc:sldMk cId="801181363" sldId="265"/>
            <ac:spMk id="50" creationId="{9BFE376F-BE7D-4F39-9304-A98482CD1465}"/>
          </ac:spMkLst>
        </pc:spChg>
        <pc:spChg chg="mod">
          <ac:chgData name="Amandeep Singh" userId="192f9da3-bd5c-42c3-8f41-80b8549e6782" providerId="ADAL" clId="{F830C17E-9D64-4BEF-A194-2F47D1141FB7}" dt="2021-06-16T19:35:14.732" v="1213"/>
          <ac:spMkLst>
            <pc:docMk/>
            <pc:sldMk cId="801181363" sldId="265"/>
            <ac:spMk id="51" creationId="{863BDE0C-6A37-49A6-8997-8B349D334DE2}"/>
          </ac:spMkLst>
        </pc:spChg>
        <pc:spChg chg="mod">
          <ac:chgData name="Amandeep Singh" userId="192f9da3-bd5c-42c3-8f41-80b8549e6782" providerId="ADAL" clId="{F830C17E-9D64-4BEF-A194-2F47D1141FB7}" dt="2021-06-16T19:35:14.732" v="1213"/>
          <ac:spMkLst>
            <pc:docMk/>
            <pc:sldMk cId="801181363" sldId="265"/>
            <ac:spMk id="52" creationId="{EA9DE14C-0BC9-4879-A0F7-14BF85351C0E}"/>
          </ac:spMkLst>
        </pc:spChg>
        <pc:grpChg chg="add del mod">
          <ac:chgData name="Amandeep Singh" userId="192f9da3-bd5c-42c3-8f41-80b8549e6782" providerId="ADAL" clId="{F830C17E-9D64-4BEF-A194-2F47D1141FB7}" dt="2021-06-10T23:12:51.968" v="768" actId="478"/>
          <ac:grpSpMkLst>
            <pc:docMk/>
            <pc:sldMk cId="801181363" sldId="265"/>
            <ac:grpSpMk id="6" creationId="{96DDE542-3A4B-4A19-BF1D-AAA664584906}"/>
          </ac:grpSpMkLst>
        </pc:grpChg>
        <pc:grpChg chg="add del mod">
          <ac:chgData name="Amandeep Singh" userId="192f9da3-bd5c-42c3-8f41-80b8549e6782" providerId="ADAL" clId="{F830C17E-9D64-4BEF-A194-2F47D1141FB7}" dt="2021-06-10T23:13:05.249" v="773" actId="478"/>
          <ac:grpSpMkLst>
            <pc:docMk/>
            <pc:sldMk cId="801181363" sldId="265"/>
            <ac:grpSpMk id="16" creationId="{AC0AF397-F2C2-4063-9DBD-F5F6AD3C5041}"/>
          </ac:grpSpMkLst>
        </pc:grpChg>
        <pc:grpChg chg="add mod">
          <ac:chgData name="Amandeep Singh" userId="192f9da3-bd5c-42c3-8f41-80b8549e6782" providerId="ADAL" clId="{F830C17E-9D64-4BEF-A194-2F47D1141FB7}" dt="2021-06-16T19:35:24.486" v="1216" actId="14100"/>
          <ac:grpSpMkLst>
            <pc:docMk/>
            <pc:sldMk cId="801181363" sldId="265"/>
            <ac:grpSpMk id="20" creationId="{511B2E6E-F876-4DD7-97D6-5D71DB7CFA09}"/>
          </ac:grpSpMkLst>
        </pc:grpChg>
        <pc:grpChg chg="add del mod">
          <ac:chgData name="Amandeep Singh" userId="192f9da3-bd5c-42c3-8f41-80b8549e6782" providerId="ADAL" clId="{F830C17E-9D64-4BEF-A194-2F47D1141FB7}" dt="2021-06-16T19:35:10.498" v="1212" actId="478"/>
          <ac:grpSpMkLst>
            <pc:docMk/>
            <pc:sldMk cId="801181363" sldId="265"/>
            <ac:grpSpMk id="31" creationId="{E29248FE-1FE3-4F70-A78A-7B9F3F5E3266}"/>
          </ac:grpSpMkLst>
        </pc:grpChg>
        <pc:graphicFrameChg chg="mod modGraphic">
          <ac:chgData name="Amandeep Singh" userId="192f9da3-bd5c-42c3-8f41-80b8549e6782" providerId="ADAL" clId="{F830C17E-9D64-4BEF-A194-2F47D1141FB7}" dt="2021-06-16T19:35:29.067" v="1218" actId="1076"/>
          <ac:graphicFrameMkLst>
            <pc:docMk/>
            <pc:sldMk cId="801181363" sldId="265"/>
            <ac:graphicFrameMk id="35" creationId="{8ED9BE5A-E89B-43D7-B6FE-223D219DC8AD}"/>
          </ac:graphicFrameMkLst>
        </pc:graphicFrameChg>
        <pc:picChg chg="del">
          <ac:chgData name="Amandeep Singh" userId="192f9da3-bd5c-42c3-8f41-80b8549e6782" providerId="ADAL" clId="{F830C17E-9D64-4BEF-A194-2F47D1141FB7}" dt="2021-06-07T23:06:36.037" v="390" actId="478"/>
          <ac:picMkLst>
            <pc:docMk/>
            <pc:sldMk cId="801181363" sldId="265"/>
            <ac:picMk id="17" creationId="{4139DE0B-ACF4-4E5A-894F-B5C7C337388D}"/>
          </ac:picMkLst>
        </pc:picChg>
        <pc:inkChg chg="mod">
          <ac:chgData name="Amandeep Singh" userId="192f9da3-bd5c-42c3-8f41-80b8549e6782" providerId="ADAL" clId="{F830C17E-9D64-4BEF-A194-2F47D1141FB7}" dt="2021-06-10T23:12:52.756" v="769"/>
          <ac:inkMkLst>
            <pc:docMk/>
            <pc:sldMk cId="801181363" sldId="265"/>
            <ac:inkMk id="17" creationId="{AF0090FB-D461-43F1-9946-A453DEBCCB72}"/>
          </ac:inkMkLst>
        </pc:inkChg>
        <pc:inkChg chg="mod">
          <ac:chgData name="Amandeep Singh" userId="192f9da3-bd5c-42c3-8f41-80b8549e6782" providerId="ADAL" clId="{F830C17E-9D64-4BEF-A194-2F47D1141FB7}" dt="2021-06-16T19:35:14.732" v="1213"/>
          <ac:inkMkLst>
            <pc:docMk/>
            <pc:sldMk cId="801181363" sldId="265"/>
            <ac:inkMk id="21" creationId="{0F8B4B37-8F83-4173-B3B8-DDFC6E90CA16}"/>
          </ac:inkMkLst>
        </pc:inkChg>
        <pc:inkChg chg="mod">
          <ac:chgData name="Amandeep Singh" userId="192f9da3-bd5c-42c3-8f41-80b8549e6782" providerId="ADAL" clId="{F830C17E-9D64-4BEF-A194-2F47D1141FB7}" dt="2021-06-10T23:13:10.275" v="774"/>
          <ac:inkMkLst>
            <pc:docMk/>
            <pc:sldMk cId="801181363" sldId="265"/>
            <ac:inkMk id="32" creationId="{9E2A8AA0-6C0B-4836-8F72-9D2B4A3585CC}"/>
          </ac:inkMkLst>
        </pc:inkChg>
      </pc:sldChg>
      <pc:sldChg chg="addSp delSp modSp mod">
        <pc:chgData name="Amandeep Singh" userId="192f9da3-bd5c-42c3-8f41-80b8549e6782" providerId="ADAL" clId="{F830C17E-9D64-4BEF-A194-2F47D1141FB7}" dt="2021-06-16T19:35:54.931" v="1224" actId="108"/>
        <pc:sldMkLst>
          <pc:docMk/>
          <pc:sldMk cId="1984782908" sldId="266"/>
        </pc:sldMkLst>
        <pc:spChg chg="mod">
          <ac:chgData name="Amandeep Singh" userId="192f9da3-bd5c-42c3-8f41-80b8549e6782" providerId="ADAL" clId="{F830C17E-9D64-4BEF-A194-2F47D1141FB7}" dt="2021-06-16T19:17:31.127" v="1028"/>
          <ac:spMkLst>
            <pc:docMk/>
            <pc:sldMk cId="1984782908" sldId="266"/>
            <ac:spMk id="4" creationId="{C07C45B8-4983-4FFB-BD8B-B2F43686E476}"/>
          </ac:spMkLst>
        </pc:spChg>
        <pc:spChg chg="mod">
          <ac:chgData name="Amandeep Singh" userId="192f9da3-bd5c-42c3-8f41-80b8549e6782" providerId="ADAL" clId="{F830C17E-9D64-4BEF-A194-2F47D1141FB7}" dt="2021-06-07T23:08:06.491" v="407"/>
          <ac:spMkLst>
            <pc:docMk/>
            <pc:sldMk cId="1984782908" sldId="266"/>
            <ac:spMk id="8" creationId="{30610681-517E-4312-A401-8A3D24ECD186}"/>
          </ac:spMkLst>
        </pc:spChg>
        <pc:spChg chg="mod">
          <ac:chgData name="Amandeep Singh" userId="192f9da3-bd5c-42c3-8f41-80b8549e6782" providerId="ADAL" clId="{F830C17E-9D64-4BEF-A194-2F47D1141FB7}" dt="2021-06-07T23:08:06.491" v="407"/>
          <ac:spMkLst>
            <pc:docMk/>
            <pc:sldMk cId="1984782908" sldId="266"/>
            <ac:spMk id="9" creationId="{600B8F7B-E8D5-4805-A09C-C4AD5B36FC6E}"/>
          </ac:spMkLst>
        </pc:spChg>
        <pc:spChg chg="mod">
          <ac:chgData name="Amandeep Singh" userId="192f9da3-bd5c-42c3-8f41-80b8549e6782" providerId="ADAL" clId="{F830C17E-9D64-4BEF-A194-2F47D1141FB7}" dt="2021-06-07T23:08:28.770" v="412" actId="207"/>
          <ac:spMkLst>
            <pc:docMk/>
            <pc:sldMk cId="1984782908" sldId="266"/>
            <ac:spMk id="10" creationId="{A7D903ED-A49F-4F01-805B-DF85BC5EF823}"/>
          </ac:spMkLst>
        </pc:spChg>
        <pc:spChg chg="mod">
          <ac:chgData name="Amandeep Singh" userId="192f9da3-bd5c-42c3-8f41-80b8549e6782" providerId="ADAL" clId="{F830C17E-9D64-4BEF-A194-2F47D1141FB7}" dt="2021-06-07T23:08:24.518" v="411" actId="108"/>
          <ac:spMkLst>
            <pc:docMk/>
            <pc:sldMk cId="1984782908" sldId="266"/>
            <ac:spMk id="11" creationId="{203E46D6-9E62-41CE-8B3D-F447AE70E987}"/>
          </ac:spMkLst>
        </pc:spChg>
        <pc:spChg chg="mod">
          <ac:chgData name="Amandeep Singh" userId="192f9da3-bd5c-42c3-8f41-80b8549e6782" providerId="ADAL" clId="{F830C17E-9D64-4BEF-A194-2F47D1141FB7}" dt="2021-06-07T23:08:06.491" v="407"/>
          <ac:spMkLst>
            <pc:docMk/>
            <pc:sldMk cId="1984782908" sldId="266"/>
            <ac:spMk id="12" creationId="{6907AABD-E2F9-4A66-BFE6-BB7D2E2D5B1E}"/>
          </ac:spMkLst>
        </pc:spChg>
        <pc:spChg chg="mod">
          <ac:chgData name="Amandeep Singh" userId="192f9da3-bd5c-42c3-8f41-80b8549e6782" providerId="ADAL" clId="{F830C17E-9D64-4BEF-A194-2F47D1141FB7}" dt="2021-06-07T23:08:06.491" v="407"/>
          <ac:spMkLst>
            <pc:docMk/>
            <pc:sldMk cId="1984782908" sldId="266"/>
            <ac:spMk id="13" creationId="{F01BEC7E-D706-4449-B6CD-C534125EB702}"/>
          </ac:spMkLst>
        </pc:spChg>
        <pc:spChg chg="mod">
          <ac:chgData name="Amandeep Singh" userId="192f9da3-bd5c-42c3-8f41-80b8549e6782" providerId="ADAL" clId="{F830C17E-9D64-4BEF-A194-2F47D1141FB7}" dt="2021-06-07T23:08:06.491" v="407"/>
          <ac:spMkLst>
            <pc:docMk/>
            <pc:sldMk cId="1984782908" sldId="266"/>
            <ac:spMk id="14" creationId="{D55B160E-5BBD-4836-84B1-5CDBD7CDA0DA}"/>
          </ac:spMkLst>
        </pc:spChg>
        <pc:spChg chg="mod">
          <ac:chgData name="Amandeep Singh" userId="192f9da3-bd5c-42c3-8f41-80b8549e6782" providerId="ADAL" clId="{F830C17E-9D64-4BEF-A194-2F47D1141FB7}" dt="2021-06-07T23:08:06.491" v="407"/>
          <ac:spMkLst>
            <pc:docMk/>
            <pc:sldMk cId="1984782908" sldId="266"/>
            <ac:spMk id="15" creationId="{F1444E14-014A-491A-8ECE-829B3A087A29}"/>
          </ac:spMkLst>
        </pc:spChg>
        <pc:spChg chg="mod">
          <ac:chgData name="Amandeep Singh" userId="192f9da3-bd5c-42c3-8f41-80b8549e6782" providerId="ADAL" clId="{F830C17E-9D64-4BEF-A194-2F47D1141FB7}" dt="2021-06-10T23:14:17.883" v="783" actId="6549"/>
          <ac:spMkLst>
            <pc:docMk/>
            <pc:sldMk cId="1984782908" sldId="266"/>
            <ac:spMk id="16" creationId="{3B676C6F-9A4F-4E32-B6E8-7265CB7F9377}"/>
          </ac:spMkLst>
        </pc:spChg>
        <pc:spChg chg="mod">
          <ac:chgData name="Amandeep Singh" userId="192f9da3-bd5c-42c3-8f41-80b8549e6782" providerId="ADAL" clId="{F830C17E-9D64-4BEF-A194-2F47D1141FB7}" dt="2021-06-10T23:14:24.914" v="785"/>
          <ac:spMkLst>
            <pc:docMk/>
            <pc:sldMk cId="1984782908" sldId="266"/>
            <ac:spMk id="19" creationId="{FE1C4E73-F925-417A-8C7A-7DF241A9C621}"/>
          </ac:spMkLst>
        </pc:spChg>
        <pc:spChg chg="mod">
          <ac:chgData name="Amandeep Singh" userId="192f9da3-bd5c-42c3-8f41-80b8549e6782" providerId="ADAL" clId="{F830C17E-9D64-4BEF-A194-2F47D1141FB7}" dt="2021-06-10T23:14:24.914" v="785"/>
          <ac:spMkLst>
            <pc:docMk/>
            <pc:sldMk cId="1984782908" sldId="266"/>
            <ac:spMk id="20" creationId="{C6EFC134-1470-4B30-92CD-A115C15407D8}"/>
          </ac:spMkLst>
        </pc:spChg>
        <pc:spChg chg="mod">
          <ac:chgData name="Amandeep Singh" userId="192f9da3-bd5c-42c3-8f41-80b8549e6782" providerId="ADAL" clId="{F830C17E-9D64-4BEF-A194-2F47D1141FB7}" dt="2021-06-10T23:14:39.179" v="788" actId="108"/>
          <ac:spMkLst>
            <pc:docMk/>
            <pc:sldMk cId="1984782908" sldId="266"/>
            <ac:spMk id="21" creationId="{66AC8865-D442-4AB7-839C-975288F14EF2}"/>
          </ac:spMkLst>
        </pc:spChg>
        <pc:spChg chg="mod">
          <ac:chgData name="Amandeep Singh" userId="192f9da3-bd5c-42c3-8f41-80b8549e6782" providerId="ADAL" clId="{F830C17E-9D64-4BEF-A194-2F47D1141FB7}" dt="2021-06-10T23:14:36.701" v="787" actId="108"/>
          <ac:spMkLst>
            <pc:docMk/>
            <pc:sldMk cId="1984782908" sldId="266"/>
            <ac:spMk id="22" creationId="{0BFB6905-99B3-4CB7-A88E-A61E9E6AACBB}"/>
          </ac:spMkLst>
        </pc:spChg>
        <pc:spChg chg="mod">
          <ac:chgData name="Amandeep Singh" userId="192f9da3-bd5c-42c3-8f41-80b8549e6782" providerId="ADAL" clId="{F830C17E-9D64-4BEF-A194-2F47D1141FB7}" dt="2021-06-10T23:14:24.914" v="785"/>
          <ac:spMkLst>
            <pc:docMk/>
            <pc:sldMk cId="1984782908" sldId="266"/>
            <ac:spMk id="23" creationId="{F31388E7-4C89-463C-A427-19E76CA9C00D}"/>
          </ac:spMkLst>
        </pc:spChg>
        <pc:spChg chg="mod">
          <ac:chgData name="Amandeep Singh" userId="192f9da3-bd5c-42c3-8f41-80b8549e6782" providerId="ADAL" clId="{F830C17E-9D64-4BEF-A194-2F47D1141FB7}" dt="2021-06-10T23:14:24.914" v="785"/>
          <ac:spMkLst>
            <pc:docMk/>
            <pc:sldMk cId="1984782908" sldId="266"/>
            <ac:spMk id="24" creationId="{F6F50E1C-BA02-406A-8184-A754EE8958CB}"/>
          </ac:spMkLst>
        </pc:spChg>
        <pc:spChg chg="mod">
          <ac:chgData name="Amandeep Singh" userId="192f9da3-bd5c-42c3-8f41-80b8549e6782" providerId="ADAL" clId="{F830C17E-9D64-4BEF-A194-2F47D1141FB7}" dt="2021-06-10T23:14:24.914" v="785"/>
          <ac:spMkLst>
            <pc:docMk/>
            <pc:sldMk cId="1984782908" sldId="266"/>
            <ac:spMk id="25" creationId="{C3E114E3-65C8-46D0-9F8A-13AC0116CAAC}"/>
          </ac:spMkLst>
        </pc:spChg>
        <pc:spChg chg="mod">
          <ac:chgData name="Amandeep Singh" userId="192f9da3-bd5c-42c3-8f41-80b8549e6782" providerId="ADAL" clId="{F830C17E-9D64-4BEF-A194-2F47D1141FB7}" dt="2021-06-10T23:14:24.914" v="785"/>
          <ac:spMkLst>
            <pc:docMk/>
            <pc:sldMk cId="1984782908" sldId="266"/>
            <ac:spMk id="26" creationId="{55DF1B32-7AEA-4DBD-A471-0C37E6325C55}"/>
          </ac:spMkLst>
        </pc:spChg>
        <pc:spChg chg="mod">
          <ac:chgData name="Amandeep Singh" userId="192f9da3-bd5c-42c3-8f41-80b8549e6782" providerId="ADAL" clId="{F830C17E-9D64-4BEF-A194-2F47D1141FB7}" dt="2021-06-10T23:14:24.914" v="785"/>
          <ac:spMkLst>
            <pc:docMk/>
            <pc:sldMk cId="1984782908" sldId="266"/>
            <ac:spMk id="27" creationId="{F576CB90-DBA3-44A9-8E33-390EA0F0B911}"/>
          </ac:spMkLst>
        </pc:spChg>
        <pc:spChg chg="mod">
          <ac:chgData name="Amandeep Singh" userId="192f9da3-bd5c-42c3-8f41-80b8549e6782" providerId="ADAL" clId="{F830C17E-9D64-4BEF-A194-2F47D1141FB7}" dt="2021-06-10T23:14:24.914" v="785"/>
          <ac:spMkLst>
            <pc:docMk/>
            <pc:sldMk cId="1984782908" sldId="266"/>
            <ac:spMk id="28" creationId="{E0EFE10B-8F60-4174-877F-EFA530C1A859}"/>
          </ac:spMkLst>
        </pc:spChg>
        <pc:spChg chg="mod">
          <ac:chgData name="Amandeep Singh" userId="192f9da3-bd5c-42c3-8f41-80b8549e6782" providerId="ADAL" clId="{F830C17E-9D64-4BEF-A194-2F47D1141FB7}" dt="2021-06-10T23:14:24.914" v="785"/>
          <ac:spMkLst>
            <pc:docMk/>
            <pc:sldMk cId="1984782908" sldId="266"/>
            <ac:spMk id="29" creationId="{EABA3781-672C-49A9-8A8D-8168F1789FB4}"/>
          </ac:spMkLst>
        </pc:spChg>
        <pc:spChg chg="mod">
          <ac:chgData name="Amandeep Singh" userId="192f9da3-bd5c-42c3-8f41-80b8549e6782" providerId="ADAL" clId="{F830C17E-9D64-4BEF-A194-2F47D1141FB7}" dt="2021-06-10T23:16:48.319" v="804" actId="108"/>
          <ac:spMkLst>
            <pc:docMk/>
            <pc:sldMk cId="1984782908" sldId="266"/>
            <ac:spMk id="30" creationId="{917C9D46-24E7-4B3D-B627-03F7FA99D6B0}"/>
          </ac:spMkLst>
        </pc:spChg>
        <pc:spChg chg="mod">
          <ac:chgData name="Amandeep Singh" userId="192f9da3-bd5c-42c3-8f41-80b8549e6782" providerId="ADAL" clId="{F830C17E-9D64-4BEF-A194-2F47D1141FB7}" dt="2021-06-10T23:14:24.914" v="785"/>
          <ac:spMkLst>
            <pc:docMk/>
            <pc:sldMk cId="1984782908" sldId="266"/>
            <ac:spMk id="31" creationId="{03155C01-30C8-4E14-BB70-4291649885D6}"/>
          </ac:spMkLst>
        </pc:spChg>
        <pc:spChg chg="mod">
          <ac:chgData name="Amandeep Singh" userId="192f9da3-bd5c-42c3-8f41-80b8549e6782" providerId="ADAL" clId="{F830C17E-9D64-4BEF-A194-2F47D1141FB7}" dt="2021-06-16T19:35:40.986" v="1220"/>
          <ac:spMkLst>
            <pc:docMk/>
            <pc:sldMk cId="1984782908" sldId="266"/>
            <ac:spMk id="34" creationId="{6A0B3D57-B034-4EEE-BEEB-784A420EF913}"/>
          </ac:spMkLst>
        </pc:spChg>
        <pc:spChg chg="mod">
          <ac:chgData name="Amandeep Singh" userId="192f9da3-bd5c-42c3-8f41-80b8549e6782" providerId="ADAL" clId="{F830C17E-9D64-4BEF-A194-2F47D1141FB7}" dt="2021-06-16T19:35:40.986" v="1220"/>
          <ac:spMkLst>
            <pc:docMk/>
            <pc:sldMk cId="1984782908" sldId="266"/>
            <ac:spMk id="35" creationId="{F7FDA5E7-5E71-4DCB-B3CE-C0C23FD017EF}"/>
          </ac:spMkLst>
        </pc:spChg>
        <pc:spChg chg="mod">
          <ac:chgData name="Amandeep Singh" userId="192f9da3-bd5c-42c3-8f41-80b8549e6782" providerId="ADAL" clId="{F830C17E-9D64-4BEF-A194-2F47D1141FB7}" dt="2021-06-16T19:35:54.931" v="1224" actId="108"/>
          <ac:spMkLst>
            <pc:docMk/>
            <pc:sldMk cId="1984782908" sldId="266"/>
            <ac:spMk id="36" creationId="{7782E4F4-B7A9-4E3F-AA6F-4F51F756B46C}"/>
          </ac:spMkLst>
        </pc:spChg>
        <pc:spChg chg="mod">
          <ac:chgData name="Amandeep Singh" userId="192f9da3-bd5c-42c3-8f41-80b8549e6782" providerId="ADAL" clId="{F830C17E-9D64-4BEF-A194-2F47D1141FB7}" dt="2021-06-16T19:35:46.977" v="1222" actId="14100"/>
          <ac:spMkLst>
            <pc:docMk/>
            <pc:sldMk cId="1984782908" sldId="266"/>
            <ac:spMk id="37" creationId="{C1B9BF59-FD78-4598-AEEA-8D4C555B37D4}"/>
          </ac:spMkLst>
        </pc:spChg>
        <pc:spChg chg="mod">
          <ac:chgData name="Amandeep Singh" userId="192f9da3-bd5c-42c3-8f41-80b8549e6782" providerId="ADAL" clId="{F830C17E-9D64-4BEF-A194-2F47D1141FB7}" dt="2021-06-16T19:35:51.363" v="1223" actId="108"/>
          <ac:spMkLst>
            <pc:docMk/>
            <pc:sldMk cId="1984782908" sldId="266"/>
            <ac:spMk id="38" creationId="{1550E85B-1D91-4BB9-BA2B-3B6C1FCA23F7}"/>
          </ac:spMkLst>
        </pc:spChg>
        <pc:spChg chg="mod">
          <ac:chgData name="Amandeep Singh" userId="192f9da3-bd5c-42c3-8f41-80b8549e6782" providerId="ADAL" clId="{F830C17E-9D64-4BEF-A194-2F47D1141FB7}" dt="2021-06-16T19:35:40.986" v="1220"/>
          <ac:spMkLst>
            <pc:docMk/>
            <pc:sldMk cId="1984782908" sldId="266"/>
            <ac:spMk id="39" creationId="{7B7F7BA4-3C1D-407E-ADB0-6B7F2CC9E633}"/>
          </ac:spMkLst>
        </pc:spChg>
        <pc:spChg chg="mod">
          <ac:chgData name="Amandeep Singh" userId="192f9da3-bd5c-42c3-8f41-80b8549e6782" providerId="ADAL" clId="{F830C17E-9D64-4BEF-A194-2F47D1141FB7}" dt="2021-06-16T19:35:40.986" v="1220"/>
          <ac:spMkLst>
            <pc:docMk/>
            <pc:sldMk cId="1984782908" sldId="266"/>
            <ac:spMk id="40" creationId="{895BB9CF-3B8A-4012-8A1F-7F10F3B2647B}"/>
          </ac:spMkLst>
        </pc:spChg>
        <pc:spChg chg="mod">
          <ac:chgData name="Amandeep Singh" userId="192f9da3-bd5c-42c3-8f41-80b8549e6782" providerId="ADAL" clId="{F830C17E-9D64-4BEF-A194-2F47D1141FB7}" dt="2021-06-16T19:35:40.986" v="1220"/>
          <ac:spMkLst>
            <pc:docMk/>
            <pc:sldMk cId="1984782908" sldId="266"/>
            <ac:spMk id="41" creationId="{261E6820-0D58-48B1-BA2D-7FD1049C7BF6}"/>
          </ac:spMkLst>
        </pc:spChg>
        <pc:spChg chg="mod">
          <ac:chgData name="Amandeep Singh" userId="192f9da3-bd5c-42c3-8f41-80b8549e6782" providerId="ADAL" clId="{F830C17E-9D64-4BEF-A194-2F47D1141FB7}" dt="2021-06-16T19:35:40.986" v="1220"/>
          <ac:spMkLst>
            <pc:docMk/>
            <pc:sldMk cId="1984782908" sldId="266"/>
            <ac:spMk id="42" creationId="{724A3011-E408-407E-875B-96C91A943D2D}"/>
          </ac:spMkLst>
        </pc:spChg>
        <pc:spChg chg="mod">
          <ac:chgData name="Amandeep Singh" userId="192f9da3-bd5c-42c3-8f41-80b8549e6782" providerId="ADAL" clId="{F830C17E-9D64-4BEF-A194-2F47D1141FB7}" dt="2021-06-16T19:35:40.986" v="1220"/>
          <ac:spMkLst>
            <pc:docMk/>
            <pc:sldMk cId="1984782908" sldId="266"/>
            <ac:spMk id="43" creationId="{EC40D028-E815-4E09-9CA4-F5BD54BE8D79}"/>
          </ac:spMkLst>
        </pc:spChg>
        <pc:spChg chg="mod">
          <ac:chgData name="Amandeep Singh" userId="192f9da3-bd5c-42c3-8f41-80b8549e6782" providerId="ADAL" clId="{F830C17E-9D64-4BEF-A194-2F47D1141FB7}" dt="2021-06-16T19:35:40.986" v="1220"/>
          <ac:spMkLst>
            <pc:docMk/>
            <pc:sldMk cId="1984782908" sldId="266"/>
            <ac:spMk id="44" creationId="{91BAD1C1-DFCB-4141-8115-977258221351}"/>
          </ac:spMkLst>
        </pc:spChg>
        <pc:spChg chg="mod">
          <ac:chgData name="Amandeep Singh" userId="192f9da3-bd5c-42c3-8f41-80b8549e6782" providerId="ADAL" clId="{F830C17E-9D64-4BEF-A194-2F47D1141FB7}" dt="2021-06-16T19:35:40.986" v="1220"/>
          <ac:spMkLst>
            <pc:docMk/>
            <pc:sldMk cId="1984782908" sldId="266"/>
            <ac:spMk id="45" creationId="{7B86FE1E-4E75-4E75-BAC5-7FE5F86983B8}"/>
          </ac:spMkLst>
        </pc:spChg>
        <pc:spChg chg="mod">
          <ac:chgData name="Amandeep Singh" userId="192f9da3-bd5c-42c3-8f41-80b8549e6782" providerId="ADAL" clId="{F830C17E-9D64-4BEF-A194-2F47D1141FB7}" dt="2021-06-16T19:35:40.986" v="1220"/>
          <ac:spMkLst>
            <pc:docMk/>
            <pc:sldMk cId="1984782908" sldId="266"/>
            <ac:spMk id="46" creationId="{D6C4FF8D-BDBA-4504-B2B6-0A50438540D0}"/>
          </ac:spMkLst>
        </pc:spChg>
        <pc:spChg chg="mod">
          <ac:chgData name="Amandeep Singh" userId="192f9da3-bd5c-42c3-8f41-80b8549e6782" providerId="ADAL" clId="{F830C17E-9D64-4BEF-A194-2F47D1141FB7}" dt="2021-06-16T19:35:40.986" v="1220"/>
          <ac:spMkLst>
            <pc:docMk/>
            <pc:sldMk cId="1984782908" sldId="266"/>
            <ac:spMk id="47" creationId="{A0EC3B68-1D9A-4EA2-83E7-DE6BE5D43C86}"/>
          </ac:spMkLst>
        </pc:spChg>
        <pc:spChg chg="mod">
          <ac:chgData name="Amandeep Singh" userId="192f9da3-bd5c-42c3-8f41-80b8549e6782" providerId="ADAL" clId="{F830C17E-9D64-4BEF-A194-2F47D1141FB7}" dt="2021-06-16T19:35:40.986" v="1220"/>
          <ac:spMkLst>
            <pc:docMk/>
            <pc:sldMk cId="1984782908" sldId="266"/>
            <ac:spMk id="48" creationId="{87EB6AF3-9535-4C6E-BA6F-95FC0D3175DE}"/>
          </ac:spMkLst>
        </pc:spChg>
        <pc:grpChg chg="add del mod">
          <ac:chgData name="Amandeep Singh" userId="192f9da3-bd5c-42c3-8f41-80b8549e6782" providerId="ADAL" clId="{F830C17E-9D64-4BEF-A194-2F47D1141FB7}" dt="2021-06-10T23:14:20.283" v="784" actId="478"/>
          <ac:grpSpMkLst>
            <pc:docMk/>
            <pc:sldMk cId="1984782908" sldId="266"/>
            <ac:grpSpMk id="6" creationId="{B9522CC1-A0CE-4B0D-90A9-A837909B4AFC}"/>
          </ac:grpSpMkLst>
        </pc:grpChg>
        <pc:grpChg chg="add del mod">
          <ac:chgData name="Amandeep Singh" userId="192f9da3-bd5c-42c3-8f41-80b8549e6782" providerId="ADAL" clId="{F830C17E-9D64-4BEF-A194-2F47D1141FB7}" dt="2021-06-16T19:35:37.174" v="1219" actId="478"/>
          <ac:grpSpMkLst>
            <pc:docMk/>
            <pc:sldMk cId="1984782908" sldId="266"/>
            <ac:grpSpMk id="17" creationId="{57E48EF5-AB1B-472A-A4AA-2CB110E13C29}"/>
          </ac:grpSpMkLst>
        </pc:grpChg>
        <pc:grpChg chg="add mod">
          <ac:chgData name="Amandeep Singh" userId="192f9da3-bd5c-42c3-8f41-80b8549e6782" providerId="ADAL" clId="{F830C17E-9D64-4BEF-A194-2F47D1141FB7}" dt="2021-06-16T19:35:40.986" v="1220"/>
          <ac:grpSpMkLst>
            <pc:docMk/>
            <pc:sldMk cId="1984782908" sldId="266"/>
            <ac:grpSpMk id="32" creationId="{E33DE32E-B2BA-47B9-A058-0D77F86F182E}"/>
          </ac:grpSpMkLst>
        </pc:grpChg>
        <pc:graphicFrameChg chg="modGraphic">
          <ac:chgData name="Amandeep Singh" userId="192f9da3-bd5c-42c3-8f41-80b8549e6782" providerId="ADAL" clId="{F830C17E-9D64-4BEF-A194-2F47D1141FB7}" dt="2021-06-07T23:08:45.468" v="416" actId="12385"/>
          <ac:graphicFrameMkLst>
            <pc:docMk/>
            <pc:sldMk cId="1984782908" sldId="266"/>
            <ac:graphicFrameMk id="7" creationId="{E1DAF2A5-EDFF-415A-BDEB-C482B9AC4525}"/>
          </ac:graphicFrameMkLst>
        </pc:graphicFrameChg>
        <pc:picChg chg="del">
          <ac:chgData name="Amandeep Singh" userId="192f9da3-bd5c-42c3-8f41-80b8549e6782" providerId="ADAL" clId="{F830C17E-9D64-4BEF-A194-2F47D1141FB7}" dt="2021-06-07T23:08:05.674" v="406" actId="478"/>
          <ac:picMkLst>
            <pc:docMk/>
            <pc:sldMk cId="1984782908" sldId="266"/>
            <ac:picMk id="2" creationId="{DBF991CF-DF8C-42F9-A9D5-B784CFAE5361}"/>
          </ac:picMkLst>
        </pc:picChg>
        <pc:inkChg chg="mod">
          <ac:chgData name="Amandeep Singh" userId="192f9da3-bd5c-42c3-8f41-80b8549e6782" providerId="ADAL" clId="{F830C17E-9D64-4BEF-A194-2F47D1141FB7}" dt="2021-06-10T23:14:24.914" v="785"/>
          <ac:inkMkLst>
            <pc:docMk/>
            <pc:sldMk cId="1984782908" sldId="266"/>
            <ac:inkMk id="18" creationId="{3458FC55-3532-4D33-876E-06E021B4EF5C}"/>
          </ac:inkMkLst>
        </pc:inkChg>
        <pc:inkChg chg="mod">
          <ac:chgData name="Amandeep Singh" userId="192f9da3-bd5c-42c3-8f41-80b8549e6782" providerId="ADAL" clId="{F830C17E-9D64-4BEF-A194-2F47D1141FB7}" dt="2021-06-16T19:35:40.986" v="1220"/>
          <ac:inkMkLst>
            <pc:docMk/>
            <pc:sldMk cId="1984782908" sldId="266"/>
            <ac:inkMk id="33" creationId="{A12D03F7-6286-4791-B72C-114C2C954CCA}"/>
          </ac:inkMkLst>
        </pc:inkChg>
      </pc:sldChg>
      <pc:sldChg chg="addSp delSp modSp mod">
        <pc:chgData name="Amandeep Singh" userId="192f9da3-bd5c-42c3-8f41-80b8549e6782" providerId="ADAL" clId="{F830C17E-9D64-4BEF-A194-2F47D1141FB7}" dt="2021-06-16T19:42:39.806" v="1269" actId="14100"/>
        <pc:sldMkLst>
          <pc:docMk/>
          <pc:sldMk cId="3360089249" sldId="267"/>
        </pc:sldMkLst>
        <pc:spChg chg="mod">
          <ac:chgData name="Amandeep Singh" userId="192f9da3-bd5c-42c3-8f41-80b8549e6782" providerId="ADAL" clId="{F830C17E-9D64-4BEF-A194-2F47D1141FB7}" dt="2021-06-16T19:42:25.218" v="1266" actId="1076"/>
          <ac:spMkLst>
            <pc:docMk/>
            <pc:sldMk cId="3360089249" sldId="267"/>
            <ac:spMk id="4" creationId="{C07C45B8-4983-4FFB-BD8B-B2F43686E476}"/>
          </ac:spMkLst>
        </pc:spChg>
        <pc:spChg chg="mod">
          <ac:chgData name="Amandeep Singh" userId="192f9da3-bd5c-42c3-8f41-80b8549e6782" providerId="ADAL" clId="{F830C17E-9D64-4BEF-A194-2F47D1141FB7}" dt="2021-06-07T23:10:08.658" v="429"/>
          <ac:spMkLst>
            <pc:docMk/>
            <pc:sldMk cId="3360089249" sldId="267"/>
            <ac:spMk id="7" creationId="{748041CE-B0D9-4F17-8757-134164CF3A05}"/>
          </ac:spMkLst>
        </pc:spChg>
        <pc:spChg chg="mod">
          <ac:chgData name="Amandeep Singh" userId="192f9da3-bd5c-42c3-8f41-80b8549e6782" providerId="ADAL" clId="{F830C17E-9D64-4BEF-A194-2F47D1141FB7}" dt="2021-06-07T23:10:08.658" v="429"/>
          <ac:spMkLst>
            <pc:docMk/>
            <pc:sldMk cId="3360089249" sldId="267"/>
            <ac:spMk id="9" creationId="{AC6432B0-3DE4-478A-8B03-394C3585C43C}"/>
          </ac:spMkLst>
        </pc:spChg>
        <pc:spChg chg="mod">
          <ac:chgData name="Amandeep Singh" userId="192f9da3-bd5c-42c3-8f41-80b8549e6782" providerId="ADAL" clId="{F830C17E-9D64-4BEF-A194-2F47D1141FB7}" dt="2021-06-07T23:10:08.658" v="429"/>
          <ac:spMkLst>
            <pc:docMk/>
            <pc:sldMk cId="3360089249" sldId="267"/>
            <ac:spMk id="10" creationId="{13EF003E-0484-4AAC-944D-DF3893FEADBD}"/>
          </ac:spMkLst>
        </pc:spChg>
        <pc:spChg chg="mod">
          <ac:chgData name="Amandeep Singh" userId="192f9da3-bd5c-42c3-8f41-80b8549e6782" providerId="ADAL" clId="{F830C17E-9D64-4BEF-A194-2F47D1141FB7}" dt="2021-06-07T23:10:27.951" v="433" actId="108"/>
          <ac:spMkLst>
            <pc:docMk/>
            <pc:sldMk cId="3360089249" sldId="267"/>
            <ac:spMk id="11" creationId="{9F563379-7E7D-43E9-A150-8A3ECE202E48}"/>
          </ac:spMkLst>
        </pc:spChg>
        <pc:spChg chg="mod">
          <ac:chgData name="Amandeep Singh" userId="192f9da3-bd5c-42c3-8f41-80b8549e6782" providerId="ADAL" clId="{F830C17E-9D64-4BEF-A194-2F47D1141FB7}" dt="2021-06-07T23:10:20.233" v="432" actId="108"/>
          <ac:spMkLst>
            <pc:docMk/>
            <pc:sldMk cId="3360089249" sldId="267"/>
            <ac:spMk id="12" creationId="{420D088C-83F5-42C5-A136-5542F92CA1F4}"/>
          </ac:spMkLst>
        </pc:spChg>
        <pc:spChg chg="mod">
          <ac:chgData name="Amandeep Singh" userId="192f9da3-bd5c-42c3-8f41-80b8549e6782" providerId="ADAL" clId="{F830C17E-9D64-4BEF-A194-2F47D1141FB7}" dt="2021-06-07T23:10:08.658" v="429"/>
          <ac:spMkLst>
            <pc:docMk/>
            <pc:sldMk cId="3360089249" sldId="267"/>
            <ac:spMk id="13" creationId="{4EF56678-C59D-4C65-B90D-4F973246D1E4}"/>
          </ac:spMkLst>
        </pc:spChg>
        <pc:spChg chg="mod">
          <ac:chgData name="Amandeep Singh" userId="192f9da3-bd5c-42c3-8f41-80b8549e6782" providerId="ADAL" clId="{F830C17E-9D64-4BEF-A194-2F47D1141FB7}" dt="2021-06-07T23:10:08.658" v="429"/>
          <ac:spMkLst>
            <pc:docMk/>
            <pc:sldMk cId="3360089249" sldId="267"/>
            <ac:spMk id="14" creationId="{D325CB68-3FE9-4A52-8E03-452A40471FE9}"/>
          </ac:spMkLst>
        </pc:spChg>
        <pc:spChg chg="mod">
          <ac:chgData name="Amandeep Singh" userId="192f9da3-bd5c-42c3-8f41-80b8549e6782" providerId="ADAL" clId="{F830C17E-9D64-4BEF-A194-2F47D1141FB7}" dt="2021-06-07T23:10:08.658" v="429"/>
          <ac:spMkLst>
            <pc:docMk/>
            <pc:sldMk cId="3360089249" sldId="267"/>
            <ac:spMk id="15" creationId="{3E9DCCCB-CAA4-4A2C-84F2-C7EC9216439C}"/>
          </ac:spMkLst>
        </pc:spChg>
        <pc:spChg chg="mod">
          <ac:chgData name="Amandeep Singh" userId="192f9da3-bd5c-42c3-8f41-80b8549e6782" providerId="ADAL" clId="{F830C17E-9D64-4BEF-A194-2F47D1141FB7}" dt="2021-06-07T23:10:08.658" v="429"/>
          <ac:spMkLst>
            <pc:docMk/>
            <pc:sldMk cId="3360089249" sldId="267"/>
            <ac:spMk id="16" creationId="{8CEA79E2-CB4C-4236-A9C6-CF150DDA14FF}"/>
          </ac:spMkLst>
        </pc:spChg>
        <pc:spChg chg="mod">
          <ac:chgData name="Amandeep Singh" userId="192f9da3-bd5c-42c3-8f41-80b8549e6782" providerId="ADAL" clId="{F830C17E-9D64-4BEF-A194-2F47D1141FB7}" dt="2021-06-10T23:18:01.695" v="815"/>
          <ac:spMkLst>
            <pc:docMk/>
            <pc:sldMk cId="3360089249" sldId="267"/>
            <ac:spMk id="19" creationId="{7EF77AA0-58C4-4815-9C7B-BC507D24A76C}"/>
          </ac:spMkLst>
        </pc:spChg>
        <pc:spChg chg="mod">
          <ac:chgData name="Amandeep Singh" userId="192f9da3-bd5c-42c3-8f41-80b8549e6782" providerId="ADAL" clId="{F830C17E-9D64-4BEF-A194-2F47D1141FB7}" dt="2021-06-10T23:18:01.695" v="815"/>
          <ac:spMkLst>
            <pc:docMk/>
            <pc:sldMk cId="3360089249" sldId="267"/>
            <ac:spMk id="20" creationId="{63E10C8A-72B2-464E-A6A8-C3E8CEAC47BC}"/>
          </ac:spMkLst>
        </pc:spChg>
        <pc:spChg chg="mod">
          <ac:chgData name="Amandeep Singh" userId="192f9da3-bd5c-42c3-8f41-80b8549e6782" providerId="ADAL" clId="{F830C17E-9D64-4BEF-A194-2F47D1141FB7}" dt="2021-06-10T23:18:01.695" v="815"/>
          <ac:spMkLst>
            <pc:docMk/>
            <pc:sldMk cId="3360089249" sldId="267"/>
            <ac:spMk id="21" creationId="{2830EBA2-BDB9-41FE-B1BB-D4F84FDE7F87}"/>
          </ac:spMkLst>
        </pc:spChg>
        <pc:spChg chg="mod">
          <ac:chgData name="Amandeep Singh" userId="192f9da3-bd5c-42c3-8f41-80b8549e6782" providerId="ADAL" clId="{F830C17E-9D64-4BEF-A194-2F47D1141FB7}" dt="2021-06-10T23:18:01.695" v="815"/>
          <ac:spMkLst>
            <pc:docMk/>
            <pc:sldMk cId="3360089249" sldId="267"/>
            <ac:spMk id="22" creationId="{EE345AA6-051B-4742-9CF1-82EFBF0D4878}"/>
          </ac:spMkLst>
        </pc:spChg>
        <pc:spChg chg="mod">
          <ac:chgData name="Amandeep Singh" userId="192f9da3-bd5c-42c3-8f41-80b8549e6782" providerId="ADAL" clId="{F830C17E-9D64-4BEF-A194-2F47D1141FB7}" dt="2021-06-10T23:18:18.664" v="818" actId="108"/>
          <ac:spMkLst>
            <pc:docMk/>
            <pc:sldMk cId="3360089249" sldId="267"/>
            <ac:spMk id="23" creationId="{BD297C45-9B71-4A58-971A-58B47A0D08A4}"/>
          </ac:spMkLst>
        </pc:spChg>
        <pc:spChg chg="mod">
          <ac:chgData name="Amandeep Singh" userId="192f9da3-bd5c-42c3-8f41-80b8549e6782" providerId="ADAL" clId="{F830C17E-9D64-4BEF-A194-2F47D1141FB7}" dt="2021-06-10T23:18:22.834" v="819" actId="108"/>
          <ac:spMkLst>
            <pc:docMk/>
            <pc:sldMk cId="3360089249" sldId="267"/>
            <ac:spMk id="24" creationId="{7F5BD5D7-A316-40CC-AAEF-063026776723}"/>
          </ac:spMkLst>
        </pc:spChg>
        <pc:spChg chg="mod">
          <ac:chgData name="Amandeep Singh" userId="192f9da3-bd5c-42c3-8f41-80b8549e6782" providerId="ADAL" clId="{F830C17E-9D64-4BEF-A194-2F47D1141FB7}" dt="2021-06-10T23:18:01.695" v="815"/>
          <ac:spMkLst>
            <pc:docMk/>
            <pc:sldMk cId="3360089249" sldId="267"/>
            <ac:spMk id="25" creationId="{87A05C0E-3C8B-434D-BD76-AC266A4224A4}"/>
          </ac:spMkLst>
        </pc:spChg>
        <pc:spChg chg="mod">
          <ac:chgData name="Amandeep Singh" userId="192f9da3-bd5c-42c3-8f41-80b8549e6782" providerId="ADAL" clId="{F830C17E-9D64-4BEF-A194-2F47D1141FB7}" dt="2021-06-10T23:18:01.695" v="815"/>
          <ac:spMkLst>
            <pc:docMk/>
            <pc:sldMk cId="3360089249" sldId="267"/>
            <ac:spMk id="26" creationId="{CDFA3DE7-3B33-4B98-A831-DBE6162A1D35}"/>
          </ac:spMkLst>
        </pc:spChg>
        <pc:spChg chg="mod">
          <ac:chgData name="Amandeep Singh" userId="192f9da3-bd5c-42c3-8f41-80b8549e6782" providerId="ADAL" clId="{F830C17E-9D64-4BEF-A194-2F47D1141FB7}" dt="2021-06-10T23:18:01.695" v="815"/>
          <ac:spMkLst>
            <pc:docMk/>
            <pc:sldMk cId="3360089249" sldId="267"/>
            <ac:spMk id="27" creationId="{3138E4AB-CBF7-4DF7-B9A1-876D76BCDF61}"/>
          </ac:spMkLst>
        </pc:spChg>
        <pc:spChg chg="mod">
          <ac:chgData name="Amandeep Singh" userId="192f9da3-bd5c-42c3-8f41-80b8549e6782" providerId="ADAL" clId="{F830C17E-9D64-4BEF-A194-2F47D1141FB7}" dt="2021-06-10T23:18:01.695" v="815"/>
          <ac:spMkLst>
            <pc:docMk/>
            <pc:sldMk cId="3360089249" sldId="267"/>
            <ac:spMk id="28" creationId="{B3DBFBE2-491D-441C-9D9B-76BD2501FE4E}"/>
          </ac:spMkLst>
        </pc:spChg>
        <pc:spChg chg="mod">
          <ac:chgData name="Amandeep Singh" userId="192f9da3-bd5c-42c3-8f41-80b8549e6782" providerId="ADAL" clId="{F830C17E-9D64-4BEF-A194-2F47D1141FB7}" dt="2021-06-10T23:18:01.695" v="815"/>
          <ac:spMkLst>
            <pc:docMk/>
            <pc:sldMk cId="3360089249" sldId="267"/>
            <ac:spMk id="29" creationId="{DE799046-0B1A-40F5-A1A7-8D1D2C589AD3}"/>
          </ac:spMkLst>
        </pc:spChg>
        <pc:spChg chg="mod">
          <ac:chgData name="Amandeep Singh" userId="192f9da3-bd5c-42c3-8f41-80b8549e6782" providerId="ADAL" clId="{F830C17E-9D64-4BEF-A194-2F47D1141FB7}" dt="2021-06-10T23:18:01.695" v="815"/>
          <ac:spMkLst>
            <pc:docMk/>
            <pc:sldMk cId="3360089249" sldId="267"/>
            <ac:spMk id="30" creationId="{E57EA589-F0E9-4478-914F-8CE490336C79}"/>
          </ac:spMkLst>
        </pc:spChg>
        <pc:spChg chg="mod">
          <ac:chgData name="Amandeep Singh" userId="192f9da3-bd5c-42c3-8f41-80b8549e6782" providerId="ADAL" clId="{F830C17E-9D64-4BEF-A194-2F47D1141FB7}" dt="2021-06-10T23:18:01.695" v="815"/>
          <ac:spMkLst>
            <pc:docMk/>
            <pc:sldMk cId="3360089249" sldId="267"/>
            <ac:spMk id="31" creationId="{FDA054FA-A28B-40DB-9827-837EB12FAC90}"/>
          </ac:spMkLst>
        </pc:spChg>
        <pc:spChg chg="mod">
          <ac:chgData name="Amandeep Singh" userId="192f9da3-bd5c-42c3-8f41-80b8549e6782" providerId="ADAL" clId="{F830C17E-9D64-4BEF-A194-2F47D1141FB7}" dt="2021-06-16T19:41:54.449" v="1253"/>
          <ac:spMkLst>
            <pc:docMk/>
            <pc:sldMk cId="3360089249" sldId="267"/>
            <ac:spMk id="34" creationId="{1FD3D51D-749C-40C1-A46F-5803DE331836}"/>
          </ac:spMkLst>
        </pc:spChg>
        <pc:spChg chg="mod">
          <ac:chgData name="Amandeep Singh" userId="192f9da3-bd5c-42c3-8f41-80b8549e6782" providerId="ADAL" clId="{F830C17E-9D64-4BEF-A194-2F47D1141FB7}" dt="2021-06-16T19:41:54.449" v="1253"/>
          <ac:spMkLst>
            <pc:docMk/>
            <pc:sldMk cId="3360089249" sldId="267"/>
            <ac:spMk id="36" creationId="{93BCF186-09F9-445E-A8AD-DA8FEEFA5582}"/>
          </ac:spMkLst>
        </pc:spChg>
        <pc:spChg chg="mod">
          <ac:chgData name="Amandeep Singh" userId="192f9da3-bd5c-42c3-8f41-80b8549e6782" providerId="ADAL" clId="{F830C17E-9D64-4BEF-A194-2F47D1141FB7}" dt="2021-06-16T19:42:39.806" v="1269" actId="14100"/>
          <ac:spMkLst>
            <pc:docMk/>
            <pc:sldMk cId="3360089249" sldId="267"/>
            <ac:spMk id="37" creationId="{C1B9BF59-FD78-4598-AEEA-8D4C555B37D4}"/>
          </ac:spMkLst>
        </pc:spChg>
        <pc:spChg chg="mod">
          <ac:chgData name="Amandeep Singh" userId="192f9da3-bd5c-42c3-8f41-80b8549e6782" providerId="ADAL" clId="{F830C17E-9D64-4BEF-A194-2F47D1141FB7}" dt="2021-06-16T19:41:54.449" v="1253"/>
          <ac:spMkLst>
            <pc:docMk/>
            <pc:sldMk cId="3360089249" sldId="267"/>
            <ac:spMk id="38" creationId="{577011A4-2B78-4B8C-A220-249968779477}"/>
          </ac:spMkLst>
        </pc:spChg>
        <pc:spChg chg="mod">
          <ac:chgData name="Amandeep Singh" userId="192f9da3-bd5c-42c3-8f41-80b8549e6782" providerId="ADAL" clId="{F830C17E-9D64-4BEF-A194-2F47D1141FB7}" dt="2021-06-16T19:41:54.449" v="1253"/>
          <ac:spMkLst>
            <pc:docMk/>
            <pc:sldMk cId="3360089249" sldId="267"/>
            <ac:spMk id="39" creationId="{65647559-86EA-4E2F-BF21-A5545533B74D}"/>
          </ac:spMkLst>
        </pc:spChg>
        <pc:spChg chg="mod">
          <ac:chgData name="Amandeep Singh" userId="192f9da3-bd5c-42c3-8f41-80b8549e6782" providerId="ADAL" clId="{F830C17E-9D64-4BEF-A194-2F47D1141FB7}" dt="2021-06-16T19:41:59.656" v="1254" actId="108"/>
          <ac:spMkLst>
            <pc:docMk/>
            <pc:sldMk cId="3360089249" sldId="267"/>
            <ac:spMk id="40" creationId="{A4CECFC4-8DC6-4D24-9688-7774F04BDEB5}"/>
          </ac:spMkLst>
        </pc:spChg>
        <pc:spChg chg="mod">
          <ac:chgData name="Amandeep Singh" userId="192f9da3-bd5c-42c3-8f41-80b8549e6782" providerId="ADAL" clId="{F830C17E-9D64-4BEF-A194-2F47D1141FB7}" dt="2021-06-16T19:42:03.086" v="1255" actId="108"/>
          <ac:spMkLst>
            <pc:docMk/>
            <pc:sldMk cId="3360089249" sldId="267"/>
            <ac:spMk id="41" creationId="{8FCB9ED0-C8BB-4BED-992A-2A68E16528AA}"/>
          </ac:spMkLst>
        </pc:spChg>
        <pc:spChg chg="mod">
          <ac:chgData name="Amandeep Singh" userId="192f9da3-bd5c-42c3-8f41-80b8549e6782" providerId="ADAL" clId="{F830C17E-9D64-4BEF-A194-2F47D1141FB7}" dt="2021-06-16T19:41:54.449" v="1253"/>
          <ac:spMkLst>
            <pc:docMk/>
            <pc:sldMk cId="3360089249" sldId="267"/>
            <ac:spMk id="42" creationId="{D6F3AE9F-B366-476A-96E9-96941D8551E3}"/>
          </ac:spMkLst>
        </pc:spChg>
        <pc:spChg chg="mod">
          <ac:chgData name="Amandeep Singh" userId="192f9da3-bd5c-42c3-8f41-80b8549e6782" providerId="ADAL" clId="{F830C17E-9D64-4BEF-A194-2F47D1141FB7}" dt="2021-06-16T19:41:54.449" v="1253"/>
          <ac:spMkLst>
            <pc:docMk/>
            <pc:sldMk cId="3360089249" sldId="267"/>
            <ac:spMk id="43" creationId="{4B3938E1-F514-4EF9-A1DC-79DD84B0CBDA}"/>
          </ac:spMkLst>
        </pc:spChg>
        <pc:spChg chg="mod">
          <ac:chgData name="Amandeep Singh" userId="192f9da3-bd5c-42c3-8f41-80b8549e6782" providerId="ADAL" clId="{F830C17E-9D64-4BEF-A194-2F47D1141FB7}" dt="2021-06-16T19:41:54.449" v="1253"/>
          <ac:spMkLst>
            <pc:docMk/>
            <pc:sldMk cId="3360089249" sldId="267"/>
            <ac:spMk id="44" creationId="{9D638103-16F5-4F91-975D-CD0AE5F7E426}"/>
          </ac:spMkLst>
        </pc:spChg>
        <pc:spChg chg="mod">
          <ac:chgData name="Amandeep Singh" userId="192f9da3-bd5c-42c3-8f41-80b8549e6782" providerId="ADAL" clId="{F830C17E-9D64-4BEF-A194-2F47D1141FB7}" dt="2021-06-16T19:41:54.449" v="1253"/>
          <ac:spMkLst>
            <pc:docMk/>
            <pc:sldMk cId="3360089249" sldId="267"/>
            <ac:spMk id="45" creationId="{A5B0AB01-9C58-4A64-9020-DF11BD506372}"/>
          </ac:spMkLst>
        </pc:spChg>
        <pc:spChg chg="mod">
          <ac:chgData name="Amandeep Singh" userId="192f9da3-bd5c-42c3-8f41-80b8549e6782" providerId="ADAL" clId="{F830C17E-9D64-4BEF-A194-2F47D1141FB7}" dt="2021-06-16T19:41:54.449" v="1253"/>
          <ac:spMkLst>
            <pc:docMk/>
            <pc:sldMk cId="3360089249" sldId="267"/>
            <ac:spMk id="46" creationId="{47C660D5-C9FD-466C-80BA-C36654E0F141}"/>
          </ac:spMkLst>
        </pc:spChg>
        <pc:spChg chg="mod">
          <ac:chgData name="Amandeep Singh" userId="192f9da3-bd5c-42c3-8f41-80b8549e6782" providerId="ADAL" clId="{F830C17E-9D64-4BEF-A194-2F47D1141FB7}" dt="2021-06-16T19:41:54.449" v="1253"/>
          <ac:spMkLst>
            <pc:docMk/>
            <pc:sldMk cId="3360089249" sldId="267"/>
            <ac:spMk id="47" creationId="{75044CAD-6245-4058-84F9-1861CF86924B}"/>
          </ac:spMkLst>
        </pc:spChg>
        <pc:spChg chg="mod">
          <ac:chgData name="Amandeep Singh" userId="192f9da3-bd5c-42c3-8f41-80b8549e6782" providerId="ADAL" clId="{F830C17E-9D64-4BEF-A194-2F47D1141FB7}" dt="2021-06-16T19:41:54.449" v="1253"/>
          <ac:spMkLst>
            <pc:docMk/>
            <pc:sldMk cId="3360089249" sldId="267"/>
            <ac:spMk id="48" creationId="{2877DF0B-004D-4E70-A87A-3096866414EA}"/>
          </ac:spMkLst>
        </pc:spChg>
        <pc:spChg chg="mod">
          <ac:chgData name="Amandeep Singh" userId="192f9da3-bd5c-42c3-8f41-80b8549e6782" providerId="ADAL" clId="{F830C17E-9D64-4BEF-A194-2F47D1141FB7}" dt="2021-06-16T19:41:54.449" v="1253"/>
          <ac:spMkLst>
            <pc:docMk/>
            <pc:sldMk cId="3360089249" sldId="267"/>
            <ac:spMk id="49" creationId="{7A2E4412-C4D6-477E-BA1B-D0AC9D96DAF4}"/>
          </ac:spMkLst>
        </pc:spChg>
        <pc:grpChg chg="add del mod">
          <ac:chgData name="Amandeep Singh" userId="192f9da3-bd5c-42c3-8f41-80b8549e6782" providerId="ADAL" clId="{F830C17E-9D64-4BEF-A194-2F47D1141FB7}" dt="2021-06-10T23:17:57.242" v="814" actId="478"/>
          <ac:grpSpMkLst>
            <pc:docMk/>
            <pc:sldMk cId="3360089249" sldId="267"/>
            <ac:grpSpMk id="6" creationId="{DC0CB417-EEF5-4377-89C6-CAF384930F9D}"/>
          </ac:grpSpMkLst>
        </pc:grpChg>
        <pc:grpChg chg="add del mod">
          <ac:chgData name="Amandeep Singh" userId="192f9da3-bd5c-42c3-8f41-80b8549e6782" providerId="ADAL" clId="{F830C17E-9D64-4BEF-A194-2F47D1141FB7}" dt="2021-06-16T19:41:50.661" v="1252" actId="478"/>
          <ac:grpSpMkLst>
            <pc:docMk/>
            <pc:sldMk cId="3360089249" sldId="267"/>
            <ac:grpSpMk id="17" creationId="{802A6AA9-9C0D-42CA-9961-A8E46887EEC5}"/>
          </ac:grpSpMkLst>
        </pc:grpChg>
        <pc:grpChg chg="add mod">
          <ac:chgData name="Amandeep Singh" userId="192f9da3-bd5c-42c3-8f41-80b8549e6782" providerId="ADAL" clId="{F830C17E-9D64-4BEF-A194-2F47D1141FB7}" dt="2021-06-16T19:41:54.449" v="1253"/>
          <ac:grpSpMkLst>
            <pc:docMk/>
            <pc:sldMk cId="3360089249" sldId="267"/>
            <ac:grpSpMk id="32" creationId="{686D78BF-0638-4BDB-A4B7-EABA0D0E940E}"/>
          </ac:grpSpMkLst>
        </pc:grpChg>
        <pc:graphicFrameChg chg="modGraphic">
          <ac:chgData name="Amandeep Singh" userId="192f9da3-bd5c-42c3-8f41-80b8549e6782" providerId="ADAL" clId="{F830C17E-9D64-4BEF-A194-2F47D1141FB7}" dt="2021-06-07T23:10:40.054" v="436" actId="12385"/>
          <ac:graphicFrameMkLst>
            <pc:docMk/>
            <pc:sldMk cId="3360089249" sldId="267"/>
            <ac:graphicFrameMk id="35" creationId="{8ED9BE5A-E89B-43D7-B6FE-223D219DC8AD}"/>
          </ac:graphicFrameMkLst>
        </pc:graphicFrameChg>
        <pc:picChg chg="del">
          <ac:chgData name="Amandeep Singh" userId="192f9da3-bd5c-42c3-8f41-80b8549e6782" providerId="ADAL" clId="{F830C17E-9D64-4BEF-A194-2F47D1141FB7}" dt="2021-06-07T23:10:07.871" v="428" actId="478"/>
          <ac:picMkLst>
            <pc:docMk/>
            <pc:sldMk cId="3360089249" sldId="267"/>
            <ac:picMk id="8" creationId="{408A8514-6081-4651-8848-AC49FE9B45FB}"/>
          </ac:picMkLst>
        </pc:picChg>
        <pc:inkChg chg="mod">
          <ac:chgData name="Amandeep Singh" userId="192f9da3-bd5c-42c3-8f41-80b8549e6782" providerId="ADAL" clId="{F830C17E-9D64-4BEF-A194-2F47D1141FB7}" dt="2021-06-10T23:18:01.695" v="815"/>
          <ac:inkMkLst>
            <pc:docMk/>
            <pc:sldMk cId="3360089249" sldId="267"/>
            <ac:inkMk id="18" creationId="{9757EA45-9B0C-4903-AF10-BA311EA78241}"/>
          </ac:inkMkLst>
        </pc:inkChg>
        <pc:inkChg chg="mod">
          <ac:chgData name="Amandeep Singh" userId="192f9da3-bd5c-42c3-8f41-80b8549e6782" providerId="ADAL" clId="{F830C17E-9D64-4BEF-A194-2F47D1141FB7}" dt="2021-06-16T19:41:54.449" v="1253"/>
          <ac:inkMkLst>
            <pc:docMk/>
            <pc:sldMk cId="3360089249" sldId="267"/>
            <ac:inkMk id="33" creationId="{8E76B279-3B32-4410-840F-B7E46F3617DF}"/>
          </ac:inkMkLst>
        </pc:inkChg>
      </pc:sldChg>
      <pc:sldChg chg="addSp delSp modSp mod">
        <pc:chgData name="Amandeep Singh" userId="192f9da3-bd5c-42c3-8f41-80b8549e6782" providerId="ADAL" clId="{F830C17E-9D64-4BEF-A194-2F47D1141FB7}" dt="2021-06-16T19:43:08.476" v="1275" actId="1076"/>
        <pc:sldMkLst>
          <pc:docMk/>
          <pc:sldMk cId="3929588503" sldId="268"/>
        </pc:sldMkLst>
        <pc:spChg chg="mod">
          <ac:chgData name="Amandeep Singh" userId="192f9da3-bd5c-42c3-8f41-80b8549e6782" providerId="ADAL" clId="{F830C17E-9D64-4BEF-A194-2F47D1141FB7}" dt="2021-06-16T19:43:08.476" v="1275" actId="1076"/>
          <ac:spMkLst>
            <pc:docMk/>
            <pc:sldMk cId="3929588503" sldId="268"/>
            <ac:spMk id="4" creationId="{C07C45B8-4983-4FFB-BD8B-B2F43686E476}"/>
          </ac:spMkLst>
        </pc:spChg>
        <pc:spChg chg="mod">
          <ac:chgData name="Amandeep Singh" userId="192f9da3-bd5c-42c3-8f41-80b8549e6782" providerId="ADAL" clId="{F830C17E-9D64-4BEF-A194-2F47D1141FB7}" dt="2021-06-07T23:11:00.985" v="438"/>
          <ac:spMkLst>
            <pc:docMk/>
            <pc:sldMk cId="3929588503" sldId="268"/>
            <ac:spMk id="8" creationId="{115F5096-C904-4AFE-B94A-E66BD0D2DACE}"/>
          </ac:spMkLst>
        </pc:spChg>
        <pc:spChg chg="mod">
          <ac:chgData name="Amandeep Singh" userId="192f9da3-bd5c-42c3-8f41-80b8549e6782" providerId="ADAL" clId="{F830C17E-9D64-4BEF-A194-2F47D1141FB7}" dt="2021-06-07T23:11:00.985" v="438"/>
          <ac:spMkLst>
            <pc:docMk/>
            <pc:sldMk cId="3929588503" sldId="268"/>
            <ac:spMk id="9" creationId="{A9EB4911-4905-4788-A75C-FDEC9CA35820}"/>
          </ac:spMkLst>
        </pc:spChg>
        <pc:spChg chg="mod">
          <ac:chgData name="Amandeep Singh" userId="192f9da3-bd5c-42c3-8f41-80b8549e6782" providerId="ADAL" clId="{F830C17E-9D64-4BEF-A194-2F47D1141FB7}" dt="2021-06-07T23:11:00.985" v="438"/>
          <ac:spMkLst>
            <pc:docMk/>
            <pc:sldMk cId="3929588503" sldId="268"/>
            <ac:spMk id="10" creationId="{9568D1F1-2C11-4765-8FDB-C636FE041825}"/>
          </ac:spMkLst>
        </pc:spChg>
        <pc:spChg chg="mod">
          <ac:chgData name="Amandeep Singh" userId="192f9da3-bd5c-42c3-8f41-80b8549e6782" providerId="ADAL" clId="{F830C17E-9D64-4BEF-A194-2F47D1141FB7}" dt="2021-06-07T23:11:00.985" v="438"/>
          <ac:spMkLst>
            <pc:docMk/>
            <pc:sldMk cId="3929588503" sldId="268"/>
            <ac:spMk id="11" creationId="{369EC7FE-BD8C-4E80-A8D0-F72CC82D5E48}"/>
          </ac:spMkLst>
        </pc:spChg>
        <pc:spChg chg="mod">
          <ac:chgData name="Amandeep Singh" userId="192f9da3-bd5c-42c3-8f41-80b8549e6782" providerId="ADAL" clId="{F830C17E-9D64-4BEF-A194-2F47D1141FB7}" dt="2021-06-07T23:11:00.985" v="438"/>
          <ac:spMkLst>
            <pc:docMk/>
            <pc:sldMk cId="3929588503" sldId="268"/>
            <ac:spMk id="12" creationId="{5DA5D7D5-D531-4DBD-B07A-650CD2BAC193}"/>
          </ac:spMkLst>
        </pc:spChg>
        <pc:spChg chg="mod">
          <ac:chgData name="Amandeep Singh" userId="192f9da3-bd5c-42c3-8f41-80b8549e6782" providerId="ADAL" clId="{F830C17E-9D64-4BEF-A194-2F47D1141FB7}" dt="2021-06-07T23:11:00.985" v="438"/>
          <ac:spMkLst>
            <pc:docMk/>
            <pc:sldMk cId="3929588503" sldId="268"/>
            <ac:spMk id="13" creationId="{8F5DF2B8-39B8-4CA1-A082-1D192BB7C68A}"/>
          </ac:spMkLst>
        </pc:spChg>
        <pc:spChg chg="mod">
          <ac:chgData name="Amandeep Singh" userId="192f9da3-bd5c-42c3-8f41-80b8549e6782" providerId="ADAL" clId="{F830C17E-9D64-4BEF-A194-2F47D1141FB7}" dt="2021-06-07T23:11:00.985" v="438"/>
          <ac:spMkLst>
            <pc:docMk/>
            <pc:sldMk cId="3929588503" sldId="268"/>
            <ac:spMk id="14" creationId="{85559C41-36E3-4A44-B237-F5407BFBB2C2}"/>
          </ac:spMkLst>
        </pc:spChg>
        <pc:spChg chg="mod">
          <ac:chgData name="Amandeep Singh" userId="192f9da3-bd5c-42c3-8f41-80b8549e6782" providerId="ADAL" clId="{F830C17E-9D64-4BEF-A194-2F47D1141FB7}" dt="2021-06-07T23:11:00.985" v="438"/>
          <ac:spMkLst>
            <pc:docMk/>
            <pc:sldMk cId="3929588503" sldId="268"/>
            <ac:spMk id="15" creationId="{2ED54079-D651-4A6C-A5C4-5DAEB473A4B0}"/>
          </ac:spMkLst>
        </pc:spChg>
        <pc:spChg chg="mod">
          <ac:chgData name="Amandeep Singh" userId="192f9da3-bd5c-42c3-8f41-80b8549e6782" providerId="ADAL" clId="{F830C17E-9D64-4BEF-A194-2F47D1141FB7}" dt="2021-06-07T23:11:00.985" v="438"/>
          <ac:spMkLst>
            <pc:docMk/>
            <pc:sldMk cId="3929588503" sldId="268"/>
            <ac:spMk id="16" creationId="{E268B6DF-FD3C-45DF-8E41-EB79FDB91146}"/>
          </ac:spMkLst>
        </pc:spChg>
        <pc:spChg chg="mod">
          <ac:chgData name="Amandeep Singh" userId="192f9da3-bd5c-42c3-8f41-80b8549e6782" providerId="ADAL" clId="{F830C17E-9D64-4BEF-A194-2F47D1141FB7}" dt="2021-06-10T23:18:42.549" v="821"/>
          <ac:spMkLst>
            <pc:docMk/>
            <pc:sldMk cId="3929588503" sldId="268"/>
            <ac:spMk id="19" creationId="{861AB353-62A3-41CA-8CC5-1DA95080B64E}"/>
          </ac:spMkLst>
        </pc:spChg>
        <pc:spChg chg="mod">
          <ac:chgData name="Amandeep Singh" userId="192f9da3-bd5c-42c3-8f41-80b8549e6782" providerId="ADAL" clId="{F830C17E-9D64-4BEF-A194-2F47D1141FB7}" dt="2021-06-10T23:18:42.549" v="821"/>
          <ac:spMkLst>
            <pc:docMk/>
            <pc:sldMk cId="3929588503" sldId="268"/>
            <ac:spMk id="20" creationId="{430769FE-68C0-4CAE-A8D5-FC018BCBD9EF}"/>
          </ac:spMkLst>
        </pc:spChg>
        <pc:spChg chg="mod">
          <ac:chgData name="Amandeep Singh" userId="192f9da3-bd5c-42c3-8f41-80b8549e6782" providerId="ADAL" clId="{F830C17E-9D64-4BEF-A194-2F47D1141FB7}" dt="2021-06-10T23:18:42.549" v="821"/>
          <ac:spMkLst>
            <pc:docMk/>
            <pc:sldMk cId="3929588503" sldId="268"/>
            <ac:spMk id="21" creationId="{278BFC47-08A3-4132-8576-8965E3CC0013}"/>
          </ac:spMkLst>
        </pc:spChg>
        <pc:spChg chg="mod">
          <ac:chgData name="Amandeep Singh" userId="192f9da3-bd5c-42c3-8f41-80b8549e6782" providerId="ADAL" clId="{F830C17E-9D64-4BEF-A194-2F47D1141FB7}" dt="2021-06-10T23:18:42.549" v="821"/>
          <ac:spMkLst>
            <pc:docMk/>
            <pc:sldMk cId="3929588503" sldId="268"/>
            <ac:spMk id="22" creationId="{245D1FC1-5004-4145-BDEB-CD268FF584EA}"/>
          </ac:spMkLst>
        </pc:spChg>
        <pc:spChg chg="mod">
          <ac:chgData name="Amandeep Singh" userId="192f9da3-bd5c-42c3-8f41-80b8549e6782" providerId="ADAL" clId="{F830C17E-9D64-4BEF-A194-2F47D1141FB7}" dt="2021-06-10T23:18:42.549" v="821"/>
          <ac:spMkLst>
            <pc:docMk/>
            <pc:sldMk cId="3929588503" sldId="268"/>
            <ac:spMk id="23" creationId="{1F366A99-7F06-4328-87DC-7639036D6B66}"/>
          </ac:spMkLst>
        </pc:spChg>
        <pc:spChg chg="mod">
          <ac:chgData name="Amandeep Singh" userId="192f9da3-bd5c-42c3-8f41-80b8549e6782" providerId="ADAL" clId="{F830C17E-9D64-4BEF-A194-2F47D1141FB7}" dt="2021-06-10T23:18:42.549" v="821"/>
          <ac:spMkLst>
            <pc:docMk/>
            <pc:sldMk cId="3929588503" sldId="268"/>
            <ac:spMk id="24" creationId="{E98A8079-6AEB-4DF0-8A5A-2BD63D642887}"/>
          </ac:spMkLst>
        </pc:spChg>
        <pc:spChg chg="mod">
          <ac:chgData name="Amandeep Singh" userId="192f9da3-bd5c-42c3-8f41-80b8549e6782" providerId="ADAL" clId="{F830C17E-9D64-4BEF-A194-2F47D1141FB7}" dt="2021-06-10T23:18:42.549" v="821"/>
          <ac:spMkLst>
            <pc:docMk/>
            <pc:sldMk cId="3929588503" sldId="268"/>
            <ac:spMk id="25" creationId="{19D839C3-C9C4-4339-A053-591C7B3B9941}"/>
          </ac:spMkLst>
        </pc:spChg>
        <pc:spChg chg="mod">
          <ac:chgData name="Amandeep Singh" userId="192f9da3-bd5c-42c3-8f41-80b8549e6782" providerId="ADAL" clId="{F830C17E-9D64-4BEF-A194-2F47D1141FB7}" dt="2021-06-10T23:18:42.549" v="821"/>
          <ac:spMkLst>
            <pc:docMk/>
            <pc:sldMk cId="3929588503" sldId="268"/>
            <ac:spMk id="26" creationId="{0D92FE8F-B454-49BB-B573-9A8F02FBCF7A}"/>
          </ac:spMkLst>
        </pc:spChg>
        <pc:spChg chg="mod">
          <ac:chgData name="Amandeep Singh" userId="192f9da3-bd5c-42c3-8f41-80b8549e6782" providerId="ADAL" clId="{F830C17E-9D64-4BEF-A194-2F47D1141FB7}" dt="2021-06-10T23:18:42.549" v="821"/>
          <ac:spMkLst>
            <pc:docMk/>
            <pc:sldMk cId="3929588503" sldId="268"/>
            <ac:spMk id="27" creationId="{AEF71AD7-C35C-41FC-AE3F-CFD9A69F965E}"/>
          </ac:spMkLst>
        </pc:spChg>
        <pc:spChg chg="mod">
          <ac:chgData name="Amandeep Singh" userId="192f9da3-bd5c-42c3-8f41-80b8549e6782" providerId="ADAL" clId="{F830C17E-9D64-4BEF-A194-2F47D1141FB7}" dt="2021-06-10T23:18:42.549" v="821"/>
          <ac:spMkLst>
            <pc:docMk/>
            <pc:sldMk cId="3929588503" sldId="268"/>
            <ac:spMk id="28" creationId="{23177177-519D-4927-81BB-3C187A989D3A}"/>
          </ac:spMkLst>
        </pc:spChg>
        <pc:spChg chg="mod">
          <ac:chgData name="Amandeep Singh" userId="192f9da3-bd5c-42c3-8f41-80b8549e6782" providerId="ADAL" clId="{F830C17E-9D64-4BEF-A194-2F47D1141FB7}" dt="2021-06-10T23:18:42.549" v="821"/>
          <ac:spMkLst>
            <pc:docMk/>
            <pc:sldMk cId="3929588503" sldId="268"/>
            <ac:spMk id="29" creationId="{6B108B16-8C92-4933-8DA4-4F23A094450A}"/>
          </ac:spMkLst>
        </pc:spChg>
        <pc:spChg chg="mod">
          <ac:chgData name="Amandeep Singh" userId="192f9da3-bd5c-42c3-8f41-80b8549e6782" providerId="ADAL" clId="{F830C17E-9D64-4BEF-A194-2F47D1141FB7}" dt="2021-06-10T23:18:42.549" v="821"/>
          <ac:spMkLst>
            <pc:docMk/>
            <pc:sldMk cId="3929588503" sldId="268"/>
            <ac:spMk id="30" creationId="{7221EB33-F8BF-43E9-A294-4B9C0BA84FF6}"/>
          </ac:spMkLst>
        </pc:spChg>
        <pc:spChg chg="mod">
          <ac:chgData name="Amandeep Singh" userId="192f9da3-bd5c-42c3-8f41-80b8549e6782" providerId="ADAL" clId="{F830C17E-9D64-4BEF-A194-2F47D1141FB7}" dt="2021-06-10T23:18:42.549" v="821"/>
          <ac:spMkLst>
            <pc:docMk/>
            <pc:sldMk cId="3929588503" sldId="268"/>
            <ac:spMk id="31" creationId="{2C21EC6B-430E-414F-914C-167C3B0041B5}"/>
          </ac:spMkLst>
        </pc:spChg>
        <pc:spChg chg="mod">
          <ac:chgData name="Amandeep Singh" userId="192f9da3-bd5c-42c3-8f41-80b8549e6782" providerId="ADAL" clId="{F830C17E-9D64-4BEF-A194-2F47D1141FB7}" dt="2021-06-16T19:42:50.320" v="1271"/>
          <ac:spMkLst>
            <pc:docMk/>
            <pc:sldMk cId="3929588503" sldId="268"/>
            <ac:spMk id="34" creationId="{AF2E01E2-2B6A-499D-A3A7-8E4F60713387}"/>
          </ac:spMkLst>
        </pc:spChg>
        <pc:spChg chg="mod">
          <ac:chgData name="Amandeep Singh" userId="192f9da3-bd5c-42c3-8f41-80b8549e6782" providerId="ADAL" clId="{F830C17E-9D64-4BEF-A194-2F47D1141FB7}" dt="2021-06-16T19:42:50.320" v="1271"/>
          <ac:spMkLst>
            <pc:docMk/>
            <pc:sldMk cId="3929588503" sldId="268"/>
            <ac:spMk id="36" creationId="{9CA6B84C-C76B-4AA7-A3BD-C803F9B98FD3}"/>
          </ac:spMkLst>
        </pc:spChg>
        <pc:spChg chg="mod">
          <ac:chgData name="Amandeep Singh" userId="192f9da3-bd5c-42c3-8f41-80b8549e6782" providerId="ADAL" clId="{F830C17E-9D64-4BEF-A194-2F47D1141FB7}" dt="2021-06-16T19:43:01.146" v="1274" actId="1076"/>
          <ac:spMkLst>
            <pc:docMk/>
            <pc:sldMk cId="3929588503" sldId="268"/>
            <ac:spMk id="37" creationId="{C1B9BF59-FD78-4598-AEEA-8D4C555B37D4}"/>
          </ac:spMkLst>
        </pc:spChg>
        <pc:spChg chg="mod">
          <ac:chgData name="Amandeep Singh" userId="192f9da3-bd5c-42c3-8f41-80b8549e6782" providerId="ADAL" clId="{F830C17E-9D64-4BEF-A194-2F47D1141FB7}" dt="2021-06-16T19:42:50.320" v="1271"/>
          <ac:spMkLst>
            <pc:docMk/>
            <pc:sldMk cId="3929588503" sldId="268"/>
            <ac:spMk id="38" creationId="{EA112BC5-F97B-46B3-BA64-FE7713865E1D}"/>
          </ac:spMkLst>
        </pc:spChg>
        <pc:spChg chg="mod">
          <ac:chgData name="Amandeep Singh" userId="192f9da3-bd5c-42c3-8f41-80b8549e6782" providerId="ADAL" clId="{F830C17E-9D64-4BEF-A194-2F47D1141FB7}" dt="2021-06-16T19:42:50.320" v="1271"/>
          <ac:spMkLst>
            <pc:docMk/>
            <pc:sldMk cId="3929588503" sldId="268"/>
            <ac:spMk id="39" creationId="{FC501DE0-64CC-4294-A635-23ABF5A5067B}"/>
          </ac:spMkLst>
        </pc:spChg>
        <pc:spChg chg="mod">
          <ac:chgData name="Amandeep Singh" userId="192f9da3-bd5c-42c3-8f41-80b8549e6782" providerId="ADAL" clId="{F830C17E-9D64-4BEF-A194-2F47D1141FB7}" dt="2021-06-16T19:42:50.320" v="1271"/>
          <ac:spMkLst>
            <pc:docMk/>
            <pc:sldMk cId="3929588503" sldId="268"/>
            <ac:spMk id="40" creationId="{33F35118-F0F2-438B-B03B-401E75F18041}"/>
          </ac:spMkLst>
        </pc:spChg>
        <pc:spChg chg="mod">
          <ac:chgData name="Amandeep Singh" userId="192f9da3-bd5c-42c3-8f41-80b8549e6782" providerId="ADAL" clId="{F830C17E-9D64-4BEF-A194-2F47D1141FB7}" dt="2021-06-16T19:42:50.320" v="1271"/>
          <ac:spMkLst>
            <pc:docMk/>
            <pc:sldMk cId="3929588503" sldId="268"/>
            <ac:spMk id="41" creationId="{44091BC0-681D-487A-A42A-59D3953F8C3B}"/>
          </ac:spMkLst>
        </pc:spChg>
        <pc:spChg chg="mod">
          <ac:chgData name="Amandeep Singh" userId="192f9da3-bd5c-42c3-8f41-80b8549e6782" providerId="ADAL" clId="{F830C17E-9D64-4BEF-A194-2F47D1141FB7}" dt="2021-06-16T19:42:50.320" v="1271"/>
          <ac:spMkLst>
            <pc:docMk/>
            <pc:sldMk cId="3929588503" sldId="268"/>
            <ac:spMk id="42" creationId="{38C22AEC-460F-4159-BFA1-FF8D8250B089}"/>
          </ac:spMkLst>
        </pc:spChg>
        <pc:spChg chg="mod">
          <ac:chgData name="Amandeep Singh" userId="192f9da3-bd5c-42c3-8f41-80b8549e6782" providerId="ADAL" clId="{F830C17E-9D64-4BEF-A194-2F47D1141FB7}" dt="2021-06-16T19:42:50.320" v="1271"/>
          <ac:spMkLst>
            <pc:docMk/>
            <pc:sldMk cId="3929588503" sldId="268"/>
            <ac:spMk id="43" creationId="{642EAE45-D44C-4016-8962-47EDA3BD0B4D}"/>
          </ac:spMkLst>
        </pc:spChg>
        <pc:spChg chg="mod">
          <ac:chgData name="Amandeep Singh" userId="192f9da3-bd5c-42c3-8f41-80b8549e6782" providerId="ADAL" clId="{F830C17E-9D64-4BEF-A194-2F47D1141FB7}" dt="2021-06-16T19:42:50.320" v="1271"/>
          <ac:spMkLst>
            <pc:docMk/>
            <pc:sldMk cId="3929588503" sldId="268"/>
            <ac:spMk id="44" creationId="{E43C744C-97E7-46B8-A909-B938B2091D1E}"/>
          </ac:spMkLst>
        </pc:spChg>
        <pc:spChg chg="mod">
          <ac:chgData name="Amandeep Singh" userId="192f9da3-bd5c-42c3-8f41-80b8549e6782" providerId="ADAL" clId="{F830C17E-9D64-4BEF-A194-2F47D1141FB7}" dt="2021-06-16T19:42:50.320" v="1271"/>
          <ac:spMkLst>
            <pc:docMk/>
            <pc:sldMk cId="3929588503" sldId="268"/>
            <ac:spMk id="45" creationId="{9FFD647B-B84B-45AF-B2CC-C9B2D50EA11F}"/>
          </ac:spMkLst>
        </pc:spChg>
        <pc:spChg chg="mod">
          <ac:chgData name="Amandeep Singh" userId="192f9da3-bd5c-42c3-8f41-80b8549e6782" providerId="ADAL" clId="{F830C17E-9D64-4BEF-A194-2F47D1141FB7}" dt="2021-06-16T19:42:50.320" v="1271"/>
          <ac:spMkLst>
            <pc:docMk/>
            <pc:sldMk cId="3929588503" sldId="268"/>
            <ac:spMk id="46" creationId="{C90B470F-8A60-469A-A7A0-EB70F4F780A3}"/>
          </ac:spMkLst>
        </pc:spChg>
        <pc:spChg chg="mod">
          <ac:chgData name="Amandeep Singh" userId="192f9da3-bd5c-42c3-8f41-80b8549e6782" providerId="ADAL" clId="{F830C17E-9D64-4BEF-A194-2F47D1141FB7}" dt="2021-06-16T19:42:50.320" v="1271"/>
          <ac:spMkLst>
            <pc:docMk/>
            <pc:sldMk cId="3929588503" sldId="268"/>
            <ac:spMk id="47" creationId="{AA16252A-2C2F-47B0-9D75-C1C8BBB1D42D}"/>
          </ac:spMkLst>
        </pc:spChg>
        <pc:spChg chg="mod">
          <ac:chgData name="Amandeep Singh" userId="192f9da3-bd5c-42c3-8f41-80b8549e6782" providerId="ADAL" clId="{F830C17E-9D64-4BEF-A194-2F47D1141FB7}" dt="2021-06-16T19:42:50.320" v="1271"/>
          <ac:spMkLst>
            <pc:docMk/>
            <pc:sldMk cId="3929588503" sldId="268"/>
            <ac:spMk id="48" creationId="{0AD1C118-76F6-4380-A98C-596D43B4C56E}"/>
          </ac:spMkLst>
        </pc:spChg>
        <pc:spChg chg="mod">
          <ac:chgData name="Amandeep Singh" userId="192f9da3-bd5c-42c3-8f41-80b8549e6782" providerId="ADAL" clId="{F830C17E-9D64-4BEF-A194-2F47D1141FB7}" dt="2021-06-16T19:42:50.320" v="1271"/>
          <ac:spMkLst>
            <pc:docMk/>
            <pc:sldMk cId="3929588503" sldId="268"/>
            <ac:spMk id="49" creationId="{096A7953-2333-4649-B350-1B605451BF50}"/>
          </ac:spMkLst>
        </pc:spChg>
        <pc:grpChg chg="add del mod">
          <ac:chgData name="Amandeep Singh" userId="192f9da3-bd5c-42c3-8f41-80b8549e6782" providerId="ADAL" clId="{F830C17E-9D64-4BEF-A194-2F47D1141FB7}" dt="2021-06-10T23:18:32.654" v="820" actId="478"/>
          <ac:grpSpMkLst>
            <pc:docMk/>
            <pc:sldMk cId="3929588503" sldId="268"/>
            <ac:grpSpMk id="6" creationId="{73B15A0A-7C6E-4C33-9774-E91C03C7970F}"/>
          </ac:grpSpMkLst>
        </pc:grpChg>
        <pc:grpChg chg="add del mod">
          <ac:chgData name="Amandeep Singh" userId="192f9da3-bd5c-42c3-8f41-80b8549e6782" providerId="ADAL" clId="{F830C17E-9D64-4BEF-A194-2F47D1141FB7}" dt="2021-06-16T19:42:46.249" v="1270" actId="478"/>
          <ac:grpSpMkLst>
            <pc:docMk/>
            <pc:sldMk cId="3929588503" sldId="268"/>
            <ac:grpSpMk id="17" creationId="{7E6C63E1-6998-4371-A31F-79E13E9778F1}"/>
          </ac:grpSpMkLst>
        </pc:grpChg>
        <pc:grpChg chg="add mod">
          <ac:chgData name="Amandeep Singh" userId="192f9da3-bd5c-42c3-8f41-80b8549e6782" providerId="ADAL" clId="{F830C17E-9D64-4BEF-A194-2F47D1141FB7}" dt="2021-06-16T19:42:50.320" v="1271"/>
          <ac:grpSpMkLst>
            <pc:docMk/>
            <pc:sldMk cId="3929588503" sldId="268"/>
            <ac:grpSpMk id="32" creationId="{49230F63-D024-482C-8698-3B0AF910F4A5}"/>
          </ac:grpSpMkLst>
        </pc:grpChg>
        <pc:graphicFrameChg chg="modGraphic">
          <ac:chgData name="Amandeep Singh" userId="192f9da3-bd5c-42c3-8f41-80b8549e6782" providerId="ADAL" clId="{F830C17E-9D64-4BEF-A194-2F47D1141FB7}" dt="2021-06-07T23:50:20.561" v="516" actId="2165"/>
          <ac:graphicFrameMkLst>
            <pc:docMk/>
            <pc:sldMk cId="3929588503" sldId="268"/>
            <ac:graphicFrameMk id="35" creationId="{8ED9BE5A-E89B-43D7-B6FE-223D219DC8AD}"/>
          </ac:graphicFrameMkLst>
        </pc:graphicFrameChg>
        <pc:picChg chg="del">
          <ac:chgData name="Amandeep Singh" userId="192f9da3-bd5c-42c3-8f41-80b8549e6782" providerId="ADAL" clId="{F830C17E-9D64-4BEF-A194-2F47D1141FB7}" dt="2021-06-07T23:11:00.364" v="437" actId="478"/>
          <ac:picMkLst>
            <pc:docMk/>
            <pc:sldMk cId="3929588503" sldId="268"/>
            <ac:picMk id="7" creationId="{D5124B04-94E7-4265-9E03-528393BC910F}"/>
          </ac:picMkLst>
        </pc:picChg>
        <pc:inkChg chg="mod">
          <ac:chgData name="Amandeep Singh" userId="192f9da3-bd5c-42c3-8f41-80b8549e6782" providerId="ADAL" clId="{F830C17E-9D64-4BEF-A194-2F47D1141FB7}" dt="2021-06-10T23:18:42.549" v="821"/>
          <ac:inkMkLst>
            <pc:docMk/>
            <pc:sldMk cId="3929588503" sldId="268"/>
            <ac:inkMk id="18" creationId="{79E3B939-6A85-4219-9288-BCF1AF89C657}"/>
          </ac:inkMkLst>
        </pc:inkChg>
        <pc:inkChg chg="mod">
          <ac:chgData name="Amandeep Singh" userId="192f9da3-bd5c-42c3-8f41-80b8549e6782" providerId="ADAL" clId="{F830C17E-9D64-4BEF-A194-2F47D1141FB7}" dt="2021-06-16T19:42:50.320" v="1271"/>
          <ac:inkMkLst>
            <pc:docMk/>
            <pc:sldMk cId="3929588503" sldId="268"/>
            <ac:inkMk id="33" creationId="{F90BA3F1-C1D1-4DE6-94D1-0B1AC305F7CD}"/>
          </ac:inkMkLst>
        </pc:inkChg>
      </pc:sldChg>
      <pc:sldChg chg="addSp delSp modSp mod ord">
        <pc:chgData name="Amandeep Singh" userId="192f9da3-bd5c-42c3-8f41-80b8549e6782" providerId="ADAL" clId="{F830C17E-9D64-4BEF-A194-2F47D1141FB7}" dt="2021-06-16T19:36:59.481" v="1241" actId="1076"/>
        <pc:sldMkLst>
          <pc:docMk/>
          <pc:sldMk cId="1955426766" sldId="269"/>
        </pc:sldMkLst>
        <pc:spChg chg="mod">
          <ac:chgData name="Amandeep Singh" userId="192f9da3-bd5c-42c3-8f41-80b8549e6782" providerId="ADAL" clId="{F830C17E-9D64-4BEF-A194-2F47D1141FB7}" dt="2021-06-16T19:36:59.481" v="1241" actId="1076"/>
          <ac:spMkLst>
            <pc:docMk/>
            <pc:sldMk cId="1955426766" sldId="269"/>
            <ac:spMk id="4" creationId="{C07C45B8-4983-4FFB-BD8B-B2F43686E476}"/>
          </ac:spMkLst>
        </pc:spChg>
        <pc:spChg chg="mod">
          <ac:chgData name="Amandeep Singh" userId="192f9da3-bd5c-42c3-8f41-80b8549e6782" providerId="ADAL" clId="{F830C17E-9D64-4BEF-A194-2F47D1141FB7}" dt="2021-06-07T23:14:28.935" v="473" actId="108"/>
          <ac:spMkLst>
            <pc:docMk/>
            <pc:sldMk cId="1955426766" sldId="269"/>
            <ac:spMk id="8" creationId="{D0F2388B-0F6E-46F1-8441-116545453401}"/>
          </ac:spMkLst>
        </pc:spChg>
        <pc:spChg chg="mod">
          <ac:chgData name="Amandeep Singh" userId="192f9da3-bd5c-42c3-8f41-80b8549e6782" providerId="ADAL" clId="{F830C17E-9D64-4BEF-A194-2F47D1141FB7}" dt="2021-06-07T23:14:06.986" v="465" actId="207"/>
          <ac:spMkLst>
            <pc:docMk/>
            <pc:sldMk cId="1955426766" sldId="269"/>
            <ac:spMk id="9" creationId="{D61506BC-A47C-4512-BDC5-C6AB8983ACE1}"/>
          </ac:spMkLst>
        </pc:spChg>
        <pc:spChg chg="mod">
          <ac:chgData name="Amandeep Singh" userId="192f9da3-bd5c-42c3-8f41-80b8549e6782" providerId="ADAL" clId="{F830C17E-9D64-4BEF-A194-2F47D1141FB7}" dt="2021-06-07T23:14:24.120" v="471" actId="108"/>
          <ac:spMkLst>
            <pc:docMk/>
            <pc:sldMk cId="1955426766" sldId="269"/>
            <ac:spMk id="10" creationId="{5B7511AA-3DFE-48BE-8CFA-5314CE127024}"/>
          </ac:spMkLst>
        </pc:spChg>
        <pc:spChg chg="mod">
          <ac:chgData name="Amandeep Singh" userId="192f9da3-bd5c-42c3-8f41-80b8549e6782" providerId="ADAL" clId="{F830C17E-9D64-4BEF-A194-2F47D1141FB7}" dt="2021-06-07T23:14:22.256" v="470" actId="108"/>
          <ac:spMkLst>
            <pc:docMk/>
            <pc:sldMk cId="1955426766" sldId="269"/>
            <ac:spMk id="11" creationId="{7340F83F-4026-43D2-B4D5-4D03C093DD51}"/>
          </ac:spMkLst>
        </pc:spChg>
        <pc:spChg chg="mod">
          <ac:chgData name="Amandeep Singh" userId="192f9da3-bd5c-42c3-8f41-80b8549e6782" providerId="ADAL" clId="{F830C17E-9D64-4BEF-A194-2F47D1141FB7}" dt="2021-06-07T23:14:03.327" v="464" actId="207"/>
          <ac:spMkLst>
            <pc:docMk/>
            <pc:sldMk cId="1955426766" sldId="269"/>
            <ac:spMk id="12" creationId="{5C9C6886-0CAB-45A8-8337-221F621DBFBD}"/>
          </ac:spMkLst>
        </pc:spChg>
        <pc:spChg chg="mod">
          <ac:chgData name="Amandeep Singh" userId="192f9da3-bd5c-42c3-8f41-80b8549e6782" providerId="ADAL" clId="{F830C17E-9D64-4BEF-A194-2F47D1141FB7}" dt="2021-06-07T23:14:18.694" v="469" actId="108"/>
          <ac:spMkLst>
            <pc:docMk/>
            <pc:sldMk cId="1955426766" sldId="269"/>
            <ac:spMk id="13" creationId="{7DBB96D0-46CF-4013-A393-A2E7F5EFD315}"/>
          </ac:spMkLst>
        </pc:spChg>
        <pc:spChg chg="mod">
          <ac:chgData name="Amandeep Singh" userId="192f9da3-bd5c-42c3-8f41-80b8549e6782" providerId="ADAL" clId="{F830C17E-9D64-4BEF-A194-2F47D1141FB7}" dt="2021-06-07T23:13:59.078" v="463" actId="207"/>
          <ac:spMkLst>
            <pc:docMk/>
            <pc:sldMk cId="1955426766" sldId="269"/>
            <ac:spMk id="14" creationId="{9BA177F5-0E5C-49A7-94F9-A2476AC29E51}"/>
          </ac:spMkLst>
        </pc:spChg>
        <pc:spChg chg="mod">
          <ac:chgData name="Amandeep Singh" userId="192f9da3-bd5c-42c3-8f41-80b8549e6782" providerId="ADAL" clId="{F830C17E-9D64-4BEF-A194-2F47D1141FB7}" dt="2021-06-07T23:13:54.577" v="462" actId="207"/>
          <ac:spMkLst>
            <pc:docMk/>
            <pc:sldMk cId="1955426766" sldId="269"/>
            <ac:spMk id="15" creationId="{894E6AAD-8D80-4EE5-99C6-F6632EC8A6E2}"/>
          </ac:spMkLst>
        </pc:spChg>
        <pc:spChg chg="mod">
          <ac:chgData name="Amandeep Singh" userId="192f9da3-bd5c-42c3-8f41-80b8549e6782" providerId="ADAL" clId="{F830C17E-9D64-4BEF-A194-2F47D1141FB7}" dt="2021-06-07T23:14:26.217" v="472" actId="108"/>
          <ac:spMkLst>
            <pc:docMk/>
            <pc:sldMk cId="1955426766" sldId="269"/>
            <ac:spMk id="16" creationId="{249B8F71-1C69-423C-8579-0583319935DC}"/>
          </ac:spMkLst>
        </pc:spChg>
        <pc:spChg chg="mod">
          <ac:chgData name="Amandeep Singh" userId="192f9da3-bd5c-42c3-8f41-80b8549e6782" providerId="ADAL" clId="{F830C17E-9D64-4BEF-A194-2F47D1141FB7}" dt="2021-06-07T23:13:51.173" v="461" actId="207"/>
          <ac:spMkLst>
            <pc:docMk/>
            <pc:sldMk cId="1955426766" sldId="269"/>
            <ac:spMk id="17" creationId="{CEE779F7-342F-404D-B2DD-FD0D1FBF39C1}"/>
          </ac:spMkLst>
        </pc:spChg>
        <pc:spChg chg="mod">
          <ac:chgData name="Amandeep Singh" userId="192f9da3-bd5c-42c3-8f41-80b8549e6782" providerId="ADAL" clId="{F830C17E-9D64-4BEF-A194-2F47D1141FB7}" dt="2021-06-07T23:13:47.493" v="460" actId="207"/>
          <ac:spMkLst>
            <pc:docMk/>
            <pc:sldMk cId="1955426766" sldId="269"/>
            <ac:spMk id="18" creationId="{662C6227-18CA-4A8A-930A-6455776BDBA2}"/>
          </ac:spMkLst>
        </pc:spChg>
        <pc:spChg chg="mod">
          <ac:chgData name="Amandeep Singh" userId="192f9da3-bd5c-42c3-8f41-80b8549e6782" providerId="ADAL" clId="{F830C17E-9D64-4BEF-A194-2F47D1141FB7}" dt="2021-06-10T23:16:12.360" v="798"/>
          <ac:spMkLst>
            <pc:docMk/>
            <pc:sldMk cId="1955426766" sldId="269"/>
            <ac:spMk id="21" creationId="{BEE4AEE2-B863-4886-B7CC-168C331C6D9E}"/>
          </ac:spMkLst>
        </pc:spChg>
        <pc:spChg chg="mod">
          <ac:chgData name="Amandeep Singh" userId="192f9da3-bd5c-42c3-8f41-80b8549e6782" providerId="ADAL" clId="{F830C17E-9D64-4BEF-A194-2F47D1141FB7}" dt="2021-06-10T23:16:12.360" v="798"/>
          <ac:spMkLst>
            <pc:docMk/>
            <pc:sldMk cId="1955426766" sldId="269"/>
            <ac:spMk id="22" creationId="{92C2840A-7DCB-4B2E-A039-15F18945B2D4}"/>
          </ac:spMkLst>
        </pc:spChg>
        <pc:spChg chg="mod">
          <ac:chgData name="Amandeep Singh" userId="192f9da3-bd5c-42c3-8f41-80b8549e6782" providerId="ADAL" clId="{F830C17E-9D64-4BEF-A194-2F47D1141FB7}" dt="2021-06-10T23:16:12.360" v="798"/>
          <ac:spMkLst>
            <pc:docMk/>
            <pc:sldMk cId="1955426766" sldId="269"/>
            <ac:spMk id="23" creationId="{C407B5AC-3526-4248-A1C1-E1AA2D54B4E7}"/>
          </ac:spMkLst>
        </pc:spChg>
        <pc:spChg chg="mod">
          <ac:chgData name="Amandeep Singh" userId="192f9da3-bd5c-42c3-8f41-80b8549e6782" providerId="ADAL" clId="{F830C17E-9D64-4BEF-A194-2F47D1141FB7}" dt="2021-06-10T23:16:27.121" v="801" actId="108"/>
          <ac:spMkLst>
            <pc:docMk/>
            <pc:sldMk cId="1955426766" sldId="269"/>
            <ac:spMk id="24" creationId="{54611577-70C0-4555-80E9-8E00F0FCAF4B}"/>
          </ac:spMkLst>
        </pc:spChg>
        <pc:spChg chg="mod">
          <ac:chgData name="Amandeep Singh" userId="192f9da3-bd5c-42c3-8f41-80b8549e6782" providerId="ADAL" clId="{F830C17E-9D64-4BEF-A194-2F47D1141FB7}" dt="2021-06-10T23:16:12.360" v="798"/>
          <ac:spMkLst>
            <pc:docMk/>
            <pc:sldMk cId="1955426766" sldId="269"/>
            <ac:spMk id="25" creationId="{BB43B05D-F62B-4224-A076-6F0075ACF495}"/>
          </ac:spMkLst>
        </pc:spChg>
        <pc:spChg chg="mod">
          <ac:chgData name="Amandeep Singh" userId="192f9da3-bd5c-42c3-8f41-80b8549e6782" providerId="ADAL" clId="{F830C17E-9D64-4BEF-A194-2F47D1141FB7}" dt="2021-06-10T23:16:23.668" v="800" actId="108"/>
          <ac:spMkLst>
            <pc:docMk/>
            <pc:sldMk cId="1955426766" sldId="269"/>
            <ac:spMk id="26" creationId="{9470595A-BFF9-43FD-B822-C4E736BF1D4C}"/>
          </ac:spMkLst>
        </pc:spChg>
        <pc:spChg chg="mod">
          <ac:chgData name="Amandeep Singh" userId="192f9da3-bd5c-42c3-8f41-80b8549e6782" providerId="ADAL" clId="{F830C17E-9D64-4BEF-A194-2F47D1141FB7}" dt="2021-06-10T23:16:12.360" v="798"/>
          <ac:spMkLst>
            <pc:docMk/>
            <pc:sldMk cId="1955426766" sldId="269"/>
            <ac:spMk id="27" creationId="{5DB7070D-A52E-4E89-83CF-192A4B3B1E3F}"/>
          </ac:spMkLst>
        </pc:spChg>
        <pc:spChg chg="mod">
          <ac:chgData name="Amandeep Singh" userId="192f9da3-bd5c-42c3-8f41-80b8549e6782" providerId="ADAL" clId="{F830C17E-9D64-4BEF-A194-2F47D1141FB7}" dt="2021-06-10T23:16:12.360" v="798"/>
          <ac:spMkLst>
            <pc:docMk/>
            <pc:sldMk cId="1955426766" sldId="269"/>
            <ac:spMk id="28" creationId="{A3171132-4607-409C-B6B8-56E47032C01C}"/>
          </ac:spMkLst>
        </pc:spChg>
        <pc:spChg chg="mod">
          <ac:chgData name="Amandeep Singh" userId="192f9da3-bd5c-42c3-8f41-80b8549e6782" providerId="ADAL" clId="{F830C17E-9D64-4BEF-A194-2F47D1141FB7}" dt="2021-06-10T23:16:12.360" v="798"/>
          <ac:spMkLst>
            <pc:docMk/>
            <pc:sldMk cId="1955426766" sldId="269"/>
            <ac:spMk id="29" creationId="{33E17D8D-DBE8-414B-88D0-4E9AB93D7789}"/>
          </ac:spMkLst>
        </pc:spChg>
        <pc:spChg chg="mod">
          <ac:chgData name="Amandeep Singh" userId="192f9da3-bd5c-42c3-8f41-80b8549e6782" providerId="ADAL" clId="{F830C17E-9D64-4BEF-A194-2F47D1141FB7}" dt="2021-06-10T23:16:12.360" v="798"/>
          <ac:spMkLst>
            <pc:docMk/>
            <pc:sldMk cId="1955426766" sldId="269"/>
            <ac:spMk id="30" creationId="{DABAC357-184F-4EA7-8894-04A32127978C}"/>
          </ac:spMkLst>
        </pc:spChg>
        <pc:spChg chg="mod">
          <ac:chgData name="Amandeep Singh" userId="192f9da3-bd5c-42c3-8f41-80b8549e6782" providerId="ADAL" clId="{F830C17E-9D64-4BEF-A194-2F47D1141FB7}" dt="2021-06-10T23:16:12.360" v="798"/>
          <ac:spMkLst>
            <pc:docMk/>
            <pc:sldMk cId="1955426766" sldId="269"/>
            <ac:spMk id="31" creationId="{6CED70AD-3437-4D50-9EE7-D994D9EECCEE}"/>
          </ac:spMkLst>
        </pc:spChg>
        <pc:spChg chg="mod">
          <ac:chgData name="Amandeep Singh" userId="192f9da3-bd5c-42c3-8f41-80b8549e6782" providerId="ADAL" clId="{F830C17E-9D64-4BEF-A194-2F47D1141FB7}" dt="2021-06-10T23:16:35.958" v="802" actId="108"/>
          <ac:spMkLst>
            <pc:docMk/>
            <pc:sldMk cId="1955426766" sldId="269"/>
            <ac:spMk id="32" creationId="{D1A70BCC-70D0-43C7-AC22-459D75E1B42A}"/>
          </ac:spMkLst>
        </pc:spChg>
        <pc:spChg chg="mod">
          <ac:chgData name="Amandeep Singh" userId="192f9da3-bd5c-42c3-8f41-80b8549e6782" providerId="ADAL" clId="{F830C17E-9D64-4BEF-A194-2F47D1141FB7}" dt="2021-06-10T23:16:12.360" v="798"/>
          <ac:spMkLst>
            <pc:docMk/>
            <pc:sldMk cId="1955426766" sldId="269"/>
            <ac:spMk id="33" creationId="{0CD25130-623C-45CB-9D10-B218894EB40C}"/>
          </ac:spMkLst>
        </pc:spChg>
        <pc:spChg chg="mod">
          <ac:chgData name="Amandeep Singh" userId="192f9da3-bd5c-42c3-8f41-80b8549e6782" providerId="ADAL" clId="{F830C17E-9D64-4BEF-A194-2F47D1141FB7}" dt="2021-06-16T19:36:37.500" v="1235" actId="14100"/>
          <ac:spMkLst>
            <pc:docMk/>
            <pc:sldMk cId="1955426766" sldId="269"/>
            <ac:spMk id="37" creationId="{C1B9BF59-FD78-4598-AEEA-8D4C555B37D4}"/>
          </ac:spMkLst>
        </pc:spChg>
        <pc:spChg chg="mod">
          <ac:chgData name="Amandeep Singh" userId="192f9da3-bd5c-42c3-8f41-80b8549e6782" providerId="ADAL" clId="{F830C17E-9D64-4BEF-A194-2F47D1141FB7}" dt="2021-06-16T19:36:27.247" v="1230"/>
          <ac:spMkLst>
            <pc:docMk/>
            <pc:sldMk cId="1955426766" sldId="269"/>
            <ac:spMk id="38" creationId="{3823F3A7-5EB4-4A91-AB37-28FA983AC5BF}"/>
          </ac:spMkLst>
        </pc:spChg>
        <pc:spChg chg="mod">
          <ac:chgData name="Amandeep Singh" userId="192f9da3-bd5c-42c3-8f41-80b8549e6782" providerId="ADAL" clId="{F830C17E-9D64-4BEF-A194-2F47D1141FB7}" dt="2021-06-16T19:36:27.247" v="1230"/>
          <ac:spMkLst>
            <pc:docMk/>
            <pc:sldMk cId="1955426766" sldId="269"/>
            <ac:spMk id="39" creationId="{E9587957-BC8F-4962-AC23-AF1B97C065C9}"/>
          </ac:spMkLst>
        </pc:spChg>
        <pc:spChg chg="mod">
          <ac:chgData name="Amandeep Singh" userId="192f9da3-bd5c-42c3-8f41-80b8549e6782" providerId="ADAL" clId="{F830C17E-9D64-4BEF-A194-2F47D1141FB7}" dt="2021-06-16T19:36:27.247" v="1230"/>
          <ac:spMkLst>
            <pc:docMk/>
            <pc:sldMk cId="1955426766" sldId="269"/>
            <ac:spMk id="40" creationId="{37C9E9EA-A14E-4C1B-818F-976210ABD384}"/>
          </ac:spMkLst>
        </pc:spChg>
        <pc:spChg chg="mod">
          <ac:chgData name="Amandeep Singh" userId="192f9da3-bd5c-42c3-8f41-80b8549e6782" providerId="ADAL" clId="{F830C17E-9D64-4BEF-A194-2F47D1141FB7}" dt="2021-06-16T19:36:45.062" v="1237" actId="108"/>
          <ac:spMkLst>
            <pc:docMk/>
            <pc:sldMk cId="1955426766" sldId="269"/>
            <ac:spMk id="41" creationId="{E3659B04-0BAE-495B-97B2-C2B38D019356}"/>
          </ac:spMkLst>
        </pc:spChg>
        <pc:spChg chg="mod">
          <ac:chgData name="Amandeep Singh" userId="192f9da3-bd5c-42c3-8f41-80b8549e6782" providerId="ADAL" clId="{F830C17E-9D64-4BEF-A194-2F47D1141FB7}" dt="2021-06-16T19:36:49.178" v="1239" actId="1076"/>
          <ac:spMkLst>
            <pc:docMk/>
            <pc:sldMk cId="1955426766" sldId="269"/>
            <ac:spMk id="42" creationId="{2CA0A887-B23E-454F-8F70-F4DF40E184FC}"/>
          </ac:spMkLst>
        </pc:spChg>
        <pc:spChg chg="mod">
          <ac:chgData name="Amandeep Singh" userId="192f9da3-bd5c-42c3-8f41-80b8549e6782" providerId="ADAL" clId="{F830C17E-9D64-4BEF-A194-2F47D1141FB7}" dt="2021-06-16T19:36:41.683" v="1236" actId="108"/>
          <ac:spMkLst>
            <pc:docMk/>
            <pc:sldMk cId="1955426766" sldId="269"/>
            <ac:spMk id="43" creationId="{80D17E10-FD4C-44E7-A3C8-99471E3417EA}"/>
          </ac:spMkLst>
        </pc:spChg>
        <pc:spChg chg="mod">
          <ac:chgData name="Amandeep Singh" userId="192f9da3-bd5c-42c3-8f41-80b8549e6782" providerId="ADAL" clId="{F830C17E-9D64-4BEF-A194-2F47D1141FB7}" dt="2021-06-16T19:36:27.247" v="1230"/>
          <ac:spMkLst>
            <pc:docMk/>
            <pc:sldMk cId="1955426766" sldId="269"/>
            <ac:spMk id="44" creationId="{D4370BDA-CBDF-4F7B-8EB3-6C57DFECE4A8}"/>
          </ac:spMkLst>
        </pc:spChg>
        <pc:spChg chg="mod">
          <ac:chgData name="Amandeep Singh" userId="192f9da3-bd5c-42c3-8f41-80b8549e6782" providerId="ADAL" clId="{F830C17E-9D64-4BEF-A194-2F47D1141FB7}" dt="2021-06-16T19:36:27.247" v="1230"/>
          <ac:spMkLst>
            <pc:docMk/>
            <pc:sldMk cId="1955426766" sldId="269"/>
            <ac:spMk id="45" creationId="{56A34289-EA00-41D2-A634-A181CCE0FE7B}"/>
          </ac:spMkLst>
        </pc:spChg>
        <pc:spChg chg="mod">
          <ac:chgData name="Amandeep Singh" userId="192f9da3-bd5c-42c3-8f41-80b8549e6782" providerId="ADAL" clId="{F830C17E-9D64-4BEF-A194-2F47D1141FB7}" dt="2021-06-16T19:36:27.247" v="1230"/>
          <ac:spMkLst>
            <pc:docMk/>
            <pc:sldMk cId="1955426766" sldId="269"/>
            <ac:spMk id="46" creationId="{E67FC9A2-1E45-4A21-8A16-DBEC44D7E539}"/>
          </ac:spMkLst>
        </pc:spChg>
        <pc:spChg chg="mod">
          <ac:chgData name="Amandeep Singh" userId="192f9da3-bd5c-42c3-8f41-80b8549e6782" providerId="ADAL" clId="{F830C17E-9D64-4BEF-A194-2F47D1141FB7}" dt="2021-06-16T19:36:27.247" v="1230"/>
          <ac:spMkLst>
            <pc:docMk/>
            <pc:sldMk cId="1955426766" sldId="269"/>
            <ac:spMk id="47" creationId="{846BCF2E-0F44-430D-ACDD-CC229BB44707}"/>
          </ac:spMkLst>
        </pc:spChg>
        <pc:spChg chg="mod">
          <ac:chgData name="Amandeep Singh" userId="192f9da3-bd5c-42c3-8f41-80b8549e6782" providerId="ADAL" clId="{F830C17E-9D64-4BEF-A194-2F47D1141FB7}" dt="2021-06-16T19:36:27.247" v="1230"/>
          <ac:spMkLst>
            <pc:docMk/>
            <pc:sldMk cId="1955426766" sldId="269"/>
            <ac:spMk id="48" creationId="{ACDA10A0-CCDE-4584-93F3-58C488EBACCA}"/>
          </ac:spMkLst>
        </pc:spChg>
        <pc:spChg chg="mod">
          <ac:chgData name="Amandeep Singh" userId="192f9da3-bd5c-42c3-8f41-80b8549e6782" providerId="ADAL" clId="{F830C17E-9D64-4BEF-A194-2F47D1141FB7}" dt="2021-06-16T19:36:27.247" v="1230"/>
          <ac:spMkLst>
            <pc:docMk/>
            <pc:sldMk cId="1955426766" sldId="269"/>
            <ac:spMk id="49" creationId="{382ABA1D-0EF3-4E4A-8F04-C8D311B04530}"/>
          </ac:spMkLst>
        </pc:spChg>
        <pc:spChg chg="mod">
          <ac:chgData name="Amandeep Singh" userId="192f9da3-bd5c-42c3-8f41-80b8549e6782" providerId="ADAL" clId="{F830C17E-9D64-4BEF-A194-2F47D1141FB7}" dt="2021-06-16T19:36:27.247" v="1230"/>
          <ac:spMkLst>
            <pc:docMk/>
            <pc:sldMk cId="1955426766" sldId="269"/>
            <ac:spMk id="50" creationId="{14445EF2-6E46-4AFA-A45E-74A683198C8E}"/>
          </ac:spMkLst>
        </pc:spChg>
        <pc:spChg chg="mod">
          <ac:chgData name="Amandeep Singh" userId="192f9da3-bd5c-42c3-8f41-80b8549e6782" providerId="ADAL" clId="{F830C17E-9D64-4BEF-A194-2F47D1141FB7}" dt="2021-06-16T19:36:27.247" v="1230"/>
          <ac:spMkLst>
            <pc:docMk/>
            <pc:sldMk cId="1955426766" sldId="269"/>
            <ac:spMk id="51" creationId="{120B0A9A-BA54-42A6-8EBC-8402CF0BB339}"/>
          </ac:spMkLst>
        </pc:spChg>
        <pc:grpChg chg="add del mod">
          <ac:chgData name="Amandeep Singh" userId="192f9da3-bd5c-42c3-8f41-80b8549e6782" providerId="ADAL" clId="{F830C17E-9D64-4BEF-A194-2F47D1141FB7}" dt="2021-06-10T23:16:00.949" v="796" actId="478"/>
          <ac:grpSpMkLst>
            <pc:docMk/>
            <pc:sldMk cId="1955426766" sldId="269"/>
            <ac:grpSpMk id="6" creationId="{AFF7F73C-677F-4BCA-9100-0DB6D8DA251D}"/>
          </ac:grpSpMkLst>
        </pc:grpChg>
        <pc:grpChg chg="add del mod">
          <ac:chgData name="Amandeep Singh" userId="192f9da3-bd5c-42c3-8f41-80b8549e6782" providerId="ADAL" clId="{F830C17E-9D64-4BEF-A194-2F47D1141FB7}" dt="2021-06-16T19:36:22.949" v="1229" actId="478"/>
          <ac:grpSpMkLst>
            <pc:docMk/>
            <pc:sldMk cId="1955426766" sldId="269"/>
            <ac:grpSpMk id="19" creationId="{DADBAFC7-015D-4990-A42A-22C63DB6782E}"/>
          </ac:grpSpMkLst>
        </pc:grpChg>
        <pc:grpChg chg="add mod">
          <ac:chgData name="Amandeep Singh" userId="192f9da3-bd5c-42c3-8f41-80b8549e6782" providerId="ADAL" clId="{F830C17E-9D64-4BEF-A194-2F47D1141FB7}" dt="2021-06-16T19:36:54.751" v="1240" actId="14100"/>
          <ac:grpSpMkLst>
            <pc:docMk/>
            <pc:sldMk cId="1955426766" sldId="269"/>
            <ac:grpSpMk id="34" creationId="{0492CE48-0474-4B88-B6CA-6A8709C191AE}"/>
          </ac:grpSpMkLst>
        </pc:grpChg>
        <pc:graphicFrameChg chg="mod modGraphic">
          <ac:chgData name="Amandeep Singh" userId="192f9da3-bd5c-42c3-8f41-80b8549e6782" providerId="ADAL" clId="{F830C17E-9D64-4BEF-A194-2F47D1141FB7}" dt="2021-06-16T19:36:33.880" v="1233" actId="14100"/>
          <ac:graphicFrameMkLst>
            <pc:docMk/>
            <pc:sldMk cId="1955426766" sldId="269"/>
            <ac:graphicFrameMk id="35" creationId="{8ED9BE5A-E89B-43D7-B6FE-223D219DC8AD}"/>
          </ac:graphicFrameMkLst>
        </pc:graphicFrameChg>
        <pc:picChg chg="del">
          <ac:chgData name="Amandeep Singh" userId="192f9da3-bd5c-42c3-8f41-80b8549e6782" providerId="ADAL" clId="{F830C17E-9D64-4BEF-A194-2F47D1141FB7}" dt="2021-06-07T23:12:21.574" v="445" actId="478"/>
          <ac:picMkLst>
            <pc:docMk/>
            <pc:sldMk cId="1955426766" sldId="269"/>
            <ac:picMk id="2" creationId="{156BFA9F-8A0F-48E2-9519-B1ADE358E15F}"/>
          </ac:picMkLst>
        </pc:picChg>
        <pc:inkChg chg="mod">
          <ac:chgData name="Amandeep Singh" userId="192f9da3-bd5c-42c3-8f41-80b8549e6782" providerId="ADAL" clId="{F830C17E-9D64-4BEF-A194-2F47D1141FB7}" dt="2021-06-07T23:12:16.619" v="444"/>
          <ac:inkMkLst>
            <pc:docMk/>
            <pc:sldMk cId="1955426766" sldId="269"/>
            <ac:inkMk id="7" creationId="{9D235012-2530-4AAF-B9DC-F5FBDFCC90E0}"/>
          </ac:inkMkLst>
        </pc:inkChg>
        <pc:inkChg chg="mod">
          <ac:chgData name="Amandeep Singh" userId="192f9da3-bd5c-42c3-8f41-80b8549e6782" providerId="ADAL" clId="{F830C17E-9D64-4BEF-A194-2F47D1141FB7}" dt="2021-06-10T23:16:12.360" v="798"/>
          <ac:inkMkLst>
            <pc:docMk/>
            <pc:sldMk cId="1955426766" sldId="269"/>
            <ac:inkMk id="20" creationId="{82327DFA-66C8-40D3-967A-4812491D66FA}"/>
          </ac:inkMkLst>
        </pc:inkChg>
        <pc:inkChg chg="mod">
          <ac:chgData name="Amandeep Singh" userId="192f9da3-bd5c-42c3-8f41-80b8549e6782" providerId="ADAL" clId="{F830C17E-9D64-4BEF-A194-2F47D1141FB7}" dt="2021-06-16T19:36:27.247" v="1230"/>
          <ac:inkMkLst>
            <pc:docMk/>
            <pc:sldMk cId="1955426766" sldId="269"/>
            <ac:inkMk id="36" creationId="{F6606656-4E03-4CEF-95D9-BDABF8C6C90E}"/>
          </ac:inkMkLst>
        </pc:inkChg>
      </pc:sldChg>
      <pc:sldChg chg="addSp delSp modSp mod">
        <pc:chgData name="Amandeep Singh" userId="192f9da3-bd5c-42c3-8f41-80b8549e6782" providerId="ADAL" clId="{F830C17E-9D64-4BEF-A194-2F47D1141FB7}" dt="2021-06-16T19:36:14.427" v="1228" actId="1076"/>
        <pc:sldMkLst>
          <pc:docMk/>
          <pc:sldMk cId="3507116976" sldId="270"/>
        </pc:sldMkLst>
        <pc:spChg chg="mod">
          <ac:chgData name="Amandeep Singh" userId="192f9da3-bd5c-42c3-8f41-80b8549e6782" providerId="ADAL" clId="{F830C17E-9D64-4BEF-A194-2F47D1141FB7}" dt="2021-06-16T19:36:11.876" v="1227" actId="1076"/>
          <ac:spMkLst>
            <pc:docMk/>
            <pc:sldMk cId="3507116976" sldId="270"/>
            <ac:spMk id="4" creationId="{C07C45B8-4983-4FFB-BD8B-B2F43686E476}"/>
          </ac:spMkLst>
        </pc:spChg>
        <pc:spChg chg="mod">
          <ac:chgData name="Amandeep Singh" userId="192f9da3-bd5c-42c3-8f41-80b8549e6782" providerId="ADAL" clId="{F830C17E-9D64-4BEF-A194-2F47D1141FB7}" dt="2021-06-07T23:09:23.617" v="420"/>
          <ac:spMkLst>
            <pc:docMk/>
            <pc:sldMk cId="3507116976" sldId="270"/>
            <ac:spMk id="9" creationId="{60431C54-8127-4CD1-A2CC-A5BAA32496C3}"/>
          </ac:spMkLst>
        </pc:spChg>
        <pc:spChg chg="mod">
          <ac:chgData name="Amandeep Singh" userId="192f9da3-bd5c-42c3-8f41-80b8549e6782" providerId="ADAL" clId="{F830C17E-9D64-4BEF-A194-2F47D1141FB7}" dt="2021-06-07T23:09:23.617" v="420"/>
          <ac:spMkLst>
            <pc:docMk/>
            <pc:sldMk cId="3507116976" sldId="270"/>
            <ac:spMk id="10" creationId="{8E8A55D1-1D16-45EF-83B2-BD436F712B0C}"/>
          </ac:spMkLst>
        </pc:spChg>
        <pc:spChg chg="mod">
          <ac:chgData name="Amandeep Singh" userId="192f9da3-bd5c-42c3-8f41-80b8549e6782" providerId="ADAL" clId="{F830C17E-9D64-4BEF-A194-2F47D1141FB7}" dt="2021-06-07T23:09:23.617" v="420"/>
          <ac:spMkLst>
            <pc:docMk/>
            <pc:sldMk cId="3507116976" sldId="270"/>
            <ac:spMk id="11" creationId="{19A5BEE8-6F2A-4EAD-8C40-3DFFAF8729B5}"/>
          </ac:spMkLst>
        </pc:spChg>
        <pc:spChg chg="mod">
          <ac:chgData name="Amandeep Singh" userId="192f9da3-bd5c-42c3-8f41-80b8549e6782" providerId="ADAL" clId="{F830C17E-9D64-4BEF-A194-2F47D1141FB7}" dt="2021-06-07T23:09:23.617" v="420"/>
          <ac:spMkLst>
            <pc:docMk/>
            <pc:sldMk cId="3507116976" sldId="270"/>
            <ac:spMk id="12" creationId="{212A8BF1-B4F7-41FB-A49B-ACE1A47D677C}"/>
          </ac:spMkLst>
        </pc:spChg>
        <pc:spChg chg="mod">
          <ac:chgData name="Amandeep Singh" userId="192f9da3-bd5c-42c3-8f41-80b8549e6782" providerId="ADAL" clId="{F830C17E-9D64-4BEF-A194-2F47D1141FB7}" dt="2021-06-07T23:09:23.617" v="420"/>
          <ac:spMkLst>
            <pc:docMk/>
            <pc:sldMk cId="3507116976" sldId="270"/>
            <ac:spMk id="13" creationId="{0D26C2C1-7101-4C4C-9CE4-5AFB74EC7B5E}"/>
          </ac:spMkLst>
        </pc:spChg>
        <pc:spChg chg="mod">
          <ac:chgData name="Amandeep Singh" userId="192f9da3-bd5c-42c3-8f41-80b8549e6782" providerId="ADAL" clId="{F830C17E-9D64-4BEF-A194-2F47D1141FB7}" dt="2021-06-07T23:09:23.617" v="420"/>
          <ac:spMkLst>
            <pc:docMk/>
            <pc:sldMk cId="3507116976" sldId="270"/>
            <ac:spMk id="14" creationId="{71AA6DB9-F989-4F1E-B6FB-5D42085B23BF}"/>
          </ac:spMkLst>
        </pc:spChg>
        <pc:spChg chg="mod">
          <ac:chgData name="Amandeep Singh" userId="192f9da3-bd5c-42c3-8f41-80b8549e6782" providerId="ADAL" clId="{F830C17E-9D64-4BEF-A194-2F47D1141FB7}" dt="2021-06-07T23:09:23.617" v="420"/>
          <ac:spMkLst>
            <pc:docMk/>
            <pc:sldMk cId="3507116976" sldId="270"/>
            <ac:spMk id="15" creationId="{D4D750A5-0A5E-4F2C-9BFC-074B334881EE}"/>
          </ac:spMkLst>
        </pc:spChg>
        <pc:spChg chg="mod">
          <ac:chgData name="Amandeep Singh" userId="192f9da3-bd5c-42c3-8f41-80b8549e6782" providerId="ADAL" clId="{F830C17E-9D64-4BEF-A194-2F47D1141FB7}" dt="2021-06-07T23:09:23.617" v="420"/>
          <ac:spMkLst>
            <pc:docMk/>
            <pc:sldMk cId="3507116976" sldId="270"/>
            <ac:spMk id="16" creationId="{7C56D487-AAB9-41A6-86C6-3332A866BF27}"/>
          </ac:spMkLst>
        </pc:spChg>
        <pc:spChg chg="mod">
          <ac:chgData name="Amandeep Singh" userId="192f9da3-bd5c-42c3-8f41-80b8549e6782" providerId="ADAL" clId="{F830C17E-9D64-4BEF-A194-2F47D1141FB7}" dt="2021-06-07T23:09:23.617" v="420"/>
          <ac:spMkLst>
            <pc:docMk/>
            <pc:sldMk cId="3507116976" sldId="270"/>
            <ac:spMk id="17" creationId="{ED5711E6-C497-4E17-8FC2-6E902ACC3CEE}"/>
          </ac:spMkLst>
        </pc:spChg>
        <pc:spChg chg="mod">
          <ac:chgData name="Amandeep Singh" userId="192f9da3-bd5c-42c3-8f41-80b8549e6782" providerId="ADAL" clId="{F830C17E-9D64-4BEF-A194-2F47D1141FB7}" dt="2021-06-10T23:15:01.096" v="791"/>
          <ac:spMkLst>
            <pc:docMk/>
            <pc:sldMk cId="3507116976" sldId="270"/>
            <ac:spMk id="20" creationId="{2CAC5277-A0E4-4FE7-A040-D61BEF70301C}"/>
          </ac:spMkLst>
        </pc:spChg>
        <pc:spChg chg="mod">
          <ac:chgData name="Amandeep Singh" userId="192f9da3-bd5c-42c3-8f41-80b8549e6782" providerId="ADAL" clId="{F830C17E-9D64-4BEF-A194-2F47D1141FB7}" dt="2021-06-10T23:15:01.096" v="791"/>
          <ac:spMkLst>
            <pc:docMk/>
            <pc:sldMk cId="3507116976" sldId="270"/>
            <ac:spMk id="21" creationId="{EA10A03A-9552-4151-941B-639545644B96}"/>
          </ac:spMkLst>
        </pc:spChg>
        <pc:spChg chg="mod">
          <ac:chgData name="Amandeep Singh" userId="192f9da3-bd5c-42c3-8f41-80b8549e6782" providerId="ADAL" clId="{F830C17E-9D64-4BEF-A194-2F47D1141FB7}" dt="2021-06-10T23:15:01.096" v="791"/>
          <ac:spMkLst>
            <pc:docMk/>
            <pc:sldMk cId="3507116976" sldId="270"/>
            <ac:spMk id="22" creationId="{619552D1-6BFF-48A0-B3C3-5F69B6FA8C62}"/>
          </ac:spMkLst>
        </pc:spChg>
        <pc:spChg chg="mod">
          <ac:chgData name="Amandeep Singh" userId="192f9da3-bd5c-42c3-8f41-80b8549e6782" providerId="ADAL" clId="{F830C17E-9D64-4BEF-A194-2F47D1141FB7}" dt="2021-06-10T23:15:01.096" v="791"/>
          <ac:spMkLst>
            <pc:docMk/>
            <pc:sldMk cId="3507116976" sldId="270"/>
            <ac:spMk id="23" creationId="{36FFBFD5-1CAE-4222-9950-72BCBEDAFB6D}"/>
          </ac:spMkLst>
        </pc:spChg>
        <pc:spChg chg="mod">
          <ac:chgData name="Amandeep Singh" userId="192f9da3-bd5c-42c3-8f41-80b8549e6782" providerId="ADAL" clId="{F830C17E-9D64-4BEF-A194-2F47D1141FB7}" dt="2021-06-10T23:15:01.096" v="791"/>
          <ac:spMkLst>
            <pc:docMk/>
            <pc:sldMk cId="3507116976" sldId="270"/>
            <ac:spMk id="24" creationId="{F35EE9DB-BC52-4D25-AD4B-233C512CB40E}"/>
          </ac:spMkLst>
        </pc:spChg>
        <pc:spChg chg="mod">
          <ac:chgData name="Amandeep Singh" userId="192f9da3-bd5c-42c3-8f41-80b8549e6782" providerId="ADAL" clId="{F830C17E-9D64-4BEF-A194-2F47D1141FB7}" dt="2021-06-10T23:15:01.096" v="791"/>
          <ac:spMkLst>
            <pc:docMk/>
            <pc:sldMk cId="3507116976" sldId="270"/>
            <ac:spMk id="25" creationId="{7EDEBC7C-857A-4567-B776-2E4ED3FFFADB}"/>
          </ac:spMkLst>
        </pc:spChg>
        <pc:spChg chg="mod">
          <ac:chgData name="Amandeep Singh" userId="192f9da3-bd5c-42c3-8f41-80b8549e6782" providerId="ADAL" clId="{F830C17E-9D64-4BEF-A194-2F47D1141FB7}" dt="2021-06-10T23:15:01.096" v="791"/>
          <ac:spMkLst>
            <pc:docMk/>
            <pc:sldMk cId="3507116976" sldId="270"/>
            <ac:spMk id="26" creationId="{FBB1AAAE-1427-40FE-8155-2966DE60E456}"/>
          </ac:spMkLst>
        </pc:spChg>
        <pc:spChg chg="mod">
          <ac:chgData name="Amandeep Singh" userId="192f9da3-bd5c-42c3-8f41-80b8549e6782" providerId="ADAL" clId="{F830C17E-9D64-4BEF-A194-2F47D1141FB7}" dt="2021-06-10T23:15:01.096" v="791"/>
          <ac:spMkLst>
            <pc:docMk/>
            <pc:sldMk cId="3507116976" sldId="270"/>
            <ac:spMk id="27" creationId="{FE5F02D0-DBDC-45A4-A33E-3C4B43050F1A}"/>
          </ac:spMkLst>
        </pc:spChg>
        <pc:spChg chg="mod">
          <ac:chgData name="Amandeep Singh" userId="192f9da3-bd5c-42c3-8f41-80b8549e6782" providerId="ADAL" clId="{F830C17E-9D64-4BEF-A194-2F47D1141FB7}" dt="2021-06-10T23:15:01.096" v="791"/>
          <ac:spMkLst>
            <pc:docMk/>
            <pc:sldMk cId="3507116976" sldId="270"/>
            <ac:spMk id="28" creationId="{899CF937-A4D3-40E3-B76E-2D4CFFA5A6FB}"/>
          </ac:spMkLst>
        </pc:spChg>
        <pc:spChg chg="mod">
          <ac:chgData name="Amandeep Singh" userId="192f9da3-bd5c-42c3-8f41-80b8549e6782" providerId="ADAL" clId="{F830C17E-9D64-4BEF-A194-2F47D1141FB7}" dt="2021-06-10T23:15:01.096" v="791"/>
          <ac:spMkLst>
            <pc:docMk/>
            <pc:sldMk cId="3507116976" sldId="270"/>
            <ac:spMk id="29" creationId="{A60A4541-A466-403A-8CD7-DAA3483BF5FE}"/>
          </ac:spMkLst>
        </pc:spChg>
        <pc:spChg chg="mod">
          <ac:chgData name="Amandeep Singh" userId="192f9da3-bd5c-42c3-8f41-80b8549e6782" providerId="ADAL" clId="{F830C17E-9D64-4BEF-A194-2F47D1141FB7}" dt="2021-06-10T23:15:01.096" v="791"/>
          <ac:spMkLst>
            <pc:docMk/>
            <pc:sldMk cId="3507116976" sldId="270"/>
            <ac:spMk id="30" creationId="{8C591744-E0B1-43A2-A5A9-C832EA9714E2}"/>
          </ac:spMkLst>
        </pc:spChg>
        <pc:spChg chg="mod">
          <ac:chgData name="Amandeep Singh" userId="192f9da3-bd5c-42c3-8f41-80b8549e6782" providerId="ADAL" clId="{F830C17E-9D64-4BEF-A194-2F47D1141FB7}" dt="2021-06-10T23:16:43.555" v="803" actId="108"/>
          <ac:spMkLst>
            <pc:docMk/>
            <pc:sldMk cId="3507116976" sldId="270"/>
            <ac:spMk id="31" creationId="{D62546FC-3A74-404F-9921-D4B577102408}"/>
          </ac:spMkLst>
        </pc:spChg>
        <pc:spChg chg="mod">
          <ac:chgData name="Amandeep Singh" userId="192f9da3-bd5c-42c3-8f41-80b8549e6782" providerId="ADAL" clId="{F830C17E-9D64-4BEF-A194-2F47D1141FB7}" dt="2021-06-10T23:15:01.096" v="791"/>
          <ac:spMkLst>
            <pc:docMk/>
            <pc:sldMk cId="3507116976" sldId="270"/>
            <ac:spMk id="32" creationId="{36C2A970-9068-44DA-BD9B-906D364A968F}"/>
          </ac:spMkLst>
        </pc:spChg>
        <pc:spChg chg="mod">
          <ac:chgData name="Amandeep Singh" userId="192f9da3-bd5c-42c3-8f41-80b8549e6782" providerId="ADAL" clId="{F830C17E-9D64-4BEF-A194-2F47D1141FB7}" dt="2021-06-16T19:36:07.045" v="1226"/>
          <ac:spMkLst>
            <pc:docMk/>
            <pc:sldMk cId="3507116976" sldId="270"/>
            <ac:spMk id="35" creationId="{0D8448ED-AC5A-4A8D-8CE1-9465316E6FA5}"/>
          </ac:spMkLst>
        </pc:spChg>
        <pc:spChg chg="mod">
          <ac:chgData name="Amandeep Singh" userId="192f9da3-bd5c-42c3-8f41-80b8549e6782" providerId="ADAL" clId="{F830C17E-9D64-4BEF-A194-2F47D1141FB7}" dt="2021-06-16T19:36:07.045" v="1226"/>
          <ac:spMkLst>
            <pc:docMk/>
            <pc:sldMk cId="3507116976" sldId="270"/>
            <ac:spMk id="36" creationId="{26A94FBE-E8A1-4F9F-8CD8-9B240F31E054}"/>
          </ac:spMkLst>
        </pc:spChg>
        <pc:spChg chg="mod">
          <ac:chgData name="Amandeep Singh" userId="192f9da3-bd5c-42c3-8f41-80b8549e6782" providerId="ADAL" clId="{F830C17E-9D64-4BEF-A194-2F47D1141FB7}" dt="2021-06-16T19:36:14.427" v="1228" actId="1076"/>
          <ac:spMkLst>
            <pc:docMk/>
            <pc:sldMk cId="3507116976" sldId="270"/>
            <ac:spMk id="37" creationId="{C1B9BF59-FD78-4598-AEEA-8D4C555B37D4}"/>
          </ac:spMkLst>
        </pc:spChg>
        <pc:spChg chg="mod">
          <ac:chgData name="Amandeep Singh" userId="192f9da3-bd5c-42c3-8f41-80b8549e6782" providerId="ADAL" clId="{F830C17E-9D64-4BEF-A194-2F47D1141FB7}" dt="2021-06-16T19:36:07.045" v="1226"/>
          <ac:spMkLst>
            <pc:docMk/>
            <pc:sldMk cId="3507116976" sldId="270"/>
            <ac:spMk id="38" creationId="{EC227242-01D3-4090-9434-2F4B61A8E74D}"/>
          </ac:spMkLst>
        </pc:spChg>
        <pc:spChg chg="mod">
          <ac:chgData name="Amandeep Singh" userId="192f9da3-bd5c-42c3-8f41-80b8549e6782" providerId="ADAL" clId="{F830C17E-9D64-4BEF-A194-2F47D1141FB7}" dt="2021-06-16T19:36:07.045" v="1226"/>
          <ac:spMkLst>
            <pc:docMk/>
            <pc:sldMk cId="3507116976" sldId="270"/>
            <ac:spMk id="39" creationId="{BDBD8531-C881-45B8-84EF-C4F637431278}"/>
          </ac:spMkLst>
        </pc:spChg>
        <pc:spChg chg="mod">
          <ac:chgData name="Amandeep Singh" userId="192f9da3-bd5c-42c3-8f41-80b8549e6782" providerId="ADAL" clId="{F830C17E-9D64-4BEF-A194-2F47D1141FB7}" dt="2021-06-16T19:36:07.045" v="1226"/>
          <ac:spMkLst>
            <pc:docMk/>
            <pc:sldMk cId="3507116976" sldId="270"/>
            <ac:spMk id="40" creationId="{B85C883B-C1CA-4A22-BA1C-71699122D6A3}"/>
          </ac:spMkLst>
        </pc:spChg>
        <pc:spChg chg="mod">
          <ac:chgData name="Amandeep Singh" userId="192f9da3-bd5c-42c3-8f41-80b8549e6782" providerId="ADAL" clId="{F830C17E-9D64-4BEF-A194-2F47D1141FB7}" dt="2021-06-16T19:36:07.045" v="1226"/>
          <ac:spMkLst>
            <pc:docMk/>
            <pc:sldMk cId="3507116976" sldId="270"/>
            <ac:spMk id="41" creationId="{7EE40A3F-9950-45E3-9314-847BBD4BCA3F}"/>
          </ac:spMkLst>
        </pc:spChg>
        <pc:spChg chg="mod">
          <ac:chgData name="Amandeep Singh" userId="192f9da3-bd5c-42c3-8f41-80b8549e6782" providerId="ADAL" clId="{F830C17E-9D64-4BEF-A194-2F47D1141FB7}" dt="2021-06-16T19:36:07.045" v="1226"/>
          <ac:spMkLst>
            <pc:docMk/>
            <pc:sldMk cId="3507116976" sldId="270"/>
            <ac:spMk id="42" creationId="{93C9191C-C857-430F-8EF9-06B43382554F}"/>
          </ac:spMkLst>
        </pc:spChg>
        <pc:spChg chg="mod">
          <ac:chgData name="Amandeep Singh" userId="192f9da3-bd5c-42c3-8f41-80b8549e6782" providerId="ADAL" clId="{F830C17E-9D64-4BEF-A194-2F47D1141FB7}" dt="2021-06-16T19:36:07.045" v="1226"/>
          <ac:spMkLst>
            <pc:docMk/>
            <pc:sldMk cId="3507116976" sldId="270"/>
            <ac:spMk id="43" creationId="{3F67E42A-9C55-4395-81A8-186D0840304C}"/>
          </ac:spMkLst>
        </pc:spChg>
        <pc:spChg chg="mod">
          <ac:chgData name="Amandeep Singh" userId="192f9da3-bd5c-42c3-8f41-80b8549e6782" providerId="ADAL" clId="{F830C17E-9D64-4BEF-A194-2F47D1141FB7}" dt="2021-06-16T19:36:07.045" v="1226"/>
          <ac:spMkLst>
            <pc:docMk/>
            <pc:sldMk cId="3507116976" sldId="270"/>
            <ac:spMk id="44" creationId="{B8375543-B67C-4957-816F-C85240B1D7B2}"/>
          </ac:spMkLst>
        </pc:spChg>
        <pc:spChg chg="mod">
          <ac:chgData name="Amandeep Singh" userId="192f9da3-bd5c-42c3-8f41-80b8549e6782" providerId="ADAL" clId="{F830C17E-9D64-4BEF-A194-2F47D1141FB7}" dt="2021-06-16T19:36:07.045" v="1226"/>
          <ac:spMkLst>
            <pc:docMk/>
            <pc:sldMk cId="3507116976" sldId="270"/>
            <ac:spMk id="45" creationId="{A7CC2414-1378-4677-9696-EED97D7B51A9}"/>
          </ac:spMkLst>
        </pc:spChg>
        <pc:spChg chg="mod">
          <ac:chgData name="Amandeep Singh" userId="192f9da3-bd5c-42c3-8f41-80b8549e6782" providerId="ADAL" clId="{F830C17E-9D64-4BEF-A194-2F47D1141FB7}" dt="2021-06-16T19:36:07.045" v="1226"/>
          <ac:spMkLst>
            <pc:docMk/>
            <pc:sldMk cId="3507116976" sldId="270"/>
            <ac:spMk id="46" creationId="{77D7884C-AE85-41EF-AB7F-1D43C7DDF359}"/>
          </ac:spMkLst>
        </pc:spChg>
        <pc:spChg chg="mod">
          <ac:chgData name="Amandeep Singh" userId="192f9da3-bd5c-42c3-8f41-80b8549e6782" providerId="ADAL" clId="{F830C17E-9D64-4BEF-A194-2F47D1141FB7}" dt="2021-06-16T19:36:07.045" v="1226"/>
          <ac:spMkLst>
            <pc:docMk/>
            <pc:sldMk cId="3507116976" sldId="270"/>
            <ac:spMk id="47" creationId="{87F4B907-2971-4570-A023-CB818DB23B88}"/>
          </ac:spMkLst>
        </pc:spChg>
        <pc:spChg chg="mod">
          <ac:chgData name="Amandeep Singh" userId="192f9da3-bd5c-42c3-8f41-80b8549e6782" providerId="ADAL" clId="{F830C17E-9D64-4BEF-A194-2F47D1141FB7}" dt="2021-06-16T19:36:07.045" v="1226"/>
          <ac:spMkLst>
            <pc:docMk/>
            <pc:sldMk cId="3507116976" sldId="270"/>
            <ac:spMk id="48" creationId="{1B3AD815-37A4-4884-AC31-B6F9BF114E41}"/>
          </ac:spMkLst>
        </pc:spChg>
        <pc:spChg chg="mod">
          <ac:chgData name="Amandeep Singh" userId="192f9da3-bd5c-42c3-8f41-80b8549e6782" providerId="ADAL" clId="{F830C17E-9D64-4BEF-A194-2F47D1141FB7}" dt="2021-06-16T19:36:07.045" v="1226"/>
          <ac:spMkLst>
            <pc:docMk/>
            <pc:sldMk cId="3507116976" sldId="270"/>
            <ac:spMk id="49" creationId="{23534D44-EC31-4340-A739-2ABF6BAD0945}"/>
          </ac:spMkLst>
        </pc:spChg>
        <pc:grpChg chg="add del mod">
          <ac:chgData name="Amandeep Singh" userId="192f9da3-bd5c-42c3-8f41-80b8549e6782" providerId="ADAL" clId="{F830C17E-9D64-4BEF-A194-2F47D1141FB7}" dt="2021-06-10T23:14:57.074" v="790" actId="478"/>
          <ac:grpSpMkLst>
            <pc:docMk/>
            <pc:sldMk cId="3507116976" sldId="270"/>
            <ac:grpSpMk id="6" creationId="{B30ADDED-B0DE-4C25-BBAA-1D328EA1C5CE}"/>
          </ac:grpSpMkLst>
        </pc:grpChg>
        <pc:grpChg chg="add del mod">
          <ac:chgData name="Amandeep Singh" userId="192f9da3-bd5c-42c3-8f41-80b8549e6782" providerId="ADAL" clId="{F830C17E-9D64-4BEF-A194-2F47D1141FB7}" dt="2021-06-16T19:36:06.294" v="1225" actId="478"/>
          <ac:grpSpMkLst>
            <pc:docMk/>
            <pc:sldMk cId="3507116976" sldId="270"/>
            <ac:grpSpMk id="18" creationId="{76F2102E-9C66-42F0-9028-00E8FCD242EE}"/>
          </ac:grpSpMkLst>
        </pc:grpChg>
        <pc:grpChg chg="add mod">
          <ac:chgData name="Amandeep Singh" userId="192f9da3-bd5c-42c3-8f41-80b8549e6782" providerId="ADAL" clId="{F830C17E-9D64-4BEF-A194-2F47D1141FB7}" dt="2021-06-16T19:36:07.045" v="1226"/>
          <ac:grpSpMkLst>
            <pc:docMk/>
            <pc:sldMk cId="3507116976" sldId="270"/>
            <ac:grpSpMk id="33" creationId="{B1993067-A58A-4E0B-901D-139C40927ACA}"/>
          </ac:grpSpMkLst>
        </pc:grpChg>
        <pc:graphicFrameChg chg="mod modGraphic">
          <ac:chgData name="Amandeep Singh" userId="192f9da3-bd5c-42c3-8f41-80b8549e6782" providerId="ADAL" clId="{F830C17E-9D64-4BEF-A194-2F47D1141FB7}" dt="2021-06-10T23:15:10.261" v="793" actId="1076"/>
          <ac:graphicFrameMkLst>
            <pc:docMk/>
            <pc:sldMk cId="3507116976" sldId="270"/>
            <ac:graphicFrameMk id="7" creationId="{E1DAF2A5-EDFF-415A-BDEB-C482B9AC4525}"/>
          </ac:graphicFrameMkLst>
        </pc:graphicFrameChg>
        <pc:picChg chg="del">
          <ac:chgData name="Amandeep Singh" userId="192f9da3-bd5c-42c3-8f41-80b8549e6782" providerId="ADAL" clId="{F830C17E-9D64-4BEF-A194-2F47D1141FB7}" dt="2021-06-07T23:09:23.147" v="419" actId="478"/>
          <ac:picMkLst>
            <pc:docMk/>
            <pc:sldMk cId="3507116976" sldId="270"/>
            <ac:picMk id="8" creationId="{15A123C3-A009-4CFC-99DD-BCEF5E18E978}"/>
          </ac:picMkLst>
        </pc:picChg>
        <pc:inkChg chg="mod">
          <ac:chgData name="Amandeep Singh" userId="192f9da3-bd5c-42c3-8f41-80b8549e6782" providerId="ADAL" clId="{F830C17E-9D64-4BEF-A194-2F47D1141FB7}" dt="2021-06-10T23:15:01.096" v="791"/>
          <ac:inkMkLst>
            <pc:docMk/>
            <pc:sldMk cId="3507116976" sldId="270"/>
            <ac:inkMk id="19" creationId="{BC982863-99D7-42A4-BEF9-650DB392B437}"/>
          </ac:inkMkLst>
        </pc:inkChg>
        <pc:inkChg chg="mod">
          <ac:chgData name="Amandeep Singh" userId="192f9da3-bd5c-42c3-8f41-80b8549e6782" providerId="ADAL" clId="{F830C17E-9D64-4BEF-A194-2F47D1141FB7}" dt="2021-06-16T19:36:07.045" v="1226"/>
          <ac:inkMkLst>
            <pc:docMk/>
            <pc:sldMk cId="3507116976" sldId="270"/>
            <ac:inkMk id="34" creationId="{DFFDC7E0-D157-47F7-8FBA-4AF03F102D3E}"/>
          </ac:inkMkLst>
        </pc:inkChg>
      </pc:sldChg>
      <pc:sldChg chg="addSp delSp modSp mod ord">
        <pc:chgData name="Amandeep Singh" userId="192f9da3-bd5c-42c3-8f41-80b8549e6782" providerId="ADAL" clId="{F830C17E-9D64-4BEF-A194-2F47D1141FB7}" dt="2021-06-16T19:37:31.944" v="1251" actId="1076"/>
        <pc:sldMkLst>
          <pc:docMk/>
          <pc:sldMk cId="4059597377" sldId="271"/>
        </pc:sldMkLst>
        <pc:spChg chg="mod">
          <ac:chgData name="Amandeep Singh" userId="192f9da3-bd5c-42c3-8f41-80b8549e6782" providerId="ADAL" clId="{F830C17E-9D64-4BEF-A194-2F47D1141FB7}" dt="2021-06-16T19:37:31.944" v="1251" actId="1076"/>
          <ac:spMkLst>
            <pc:docMk/>
            <pc:sldMk cId="4059597377" sldId="271"/>
            <ac:spMk id="4" creationId="{C07C45B8-4983-4FFB-BD8B-B2F43686E476}"/>
          </ac:spMkLst>
        </pc:spChg>
        <pc:spChg chg="mod">
          <ac:chgData name="Amandeep Singh" userId="192f9da3-bd5c-42c3-8f41-80b8549e6782" providerId="ADAL" clId="{F830C17E-9D64-4BEF-A194-2F47D1141FB7}" dt="2021-06-07T23:14:38.033" v="474"/>
          <ac:spMkLst>
            <pc:docMk/>
            <pc:sldMk cId="4059597377" sldId="271"/>
            <ac:spMk id="9" creationId="{29EE2959-7E7E-44F0-82AA-99AAB6AF371C}"/>
          </ac:spMkLst>
        </pc:spChg>
        <pc:spChg chg="mod">
          <ac:chgData name="Amandeep Singh" userId="192f9da3-bd5c-42c3-8f41-80b8549e6782" providerId="ADAL" clId="{F830C17E-9D64-4BEF-A194-2F47D1141FB7}" dt="2021-06-07T23:14:38.033" v="474"/>
          <ac:spMkLst>
            <pc:docMk/>
            <pc:sldMk cId="4059597377" sldId="271"/>
            <ac:spMk id="10" creationId="{CB240303-2798-4C45-8391-F2387F181531}"/>
          </ac:spMkLst>
        </pc:spChg>
        <pc:spChg chg="mod">
          <ac:chgData name="Amandeep Singh" userId="192f9da3-bd5c-42c3-8f41-80b8549e6782" providerId="ADAL" clId="{F830C17E-9D64-4BEF-A194-2F47D1141FB7}" dt="2021-06-07T23:14:38.033" v="474"/>
          <ac:spMkLst>
            <pc:docMk/>
            <pc:sldMk cId="4059597377" sldId="271"/>
            <ac:spMk id="11" creationId="{EC623C7A-CDD0-4B08-B2EC-D7F992E1DD59}"/>
          </ac:spMkLst>
        </pc:spChg>
        <pc:spChg chg="mod">
          <ac:chgData name="Amandeep Singh" userId="192f9da3-bd5c-42c3-8f41-80b8549e6782" providerId="ADAL" clId="{F830C17E-9D64-4BEF-A194-2F47D1141FB7}" dt="2021-06-07T23:14:38.033" v="474"/>
          <ac:spMkLst>
            <pc:docMk/>
            <pc:sldMk cId="4059597377" sldId="271"/>
            <ac:spMk id="12" creationId="{D69F815D-0FA5-4F2E-A547-8C935E7D5C36}"/>
          </ac:spMkLst>
        </pc:spChg>
        <pc:spChg chg="mod">
          <ac:chgData name="Amandeep Singh" userId="192f9da3-bd5c-42c3-8f41-80b8549e6782" providerId="ADAL" clId="{F830C17E-9D64-4BEF-A194-2F47D1141FB7}" dt="2021-06-07T23:14:38.033" v="474"/>
          <ac:spMkLst>
            <pc:docMk/>
            <pc:sldMk cId="4059597377" sldId="271"/>
            <ac:spMk id="13" creationId="{4F659325-80BB-4FFB-BE0C-0E59B36CE74C}"/>
          </ac:spMkLst>
        </pc:spChg>
        <pc:spChg chg="mod">
          <ac:chgData name="Amandeep Singh" userId="192f9da3-bd5c-42c3-8f41-80b8549e6782" providerId="ADAL" clId="{F830C17E-9D64-4BEF-A194-2F47D1141FB7}" dt="2021-06-07T23:14:38.033" v="474"/>
          <ac:spMkLst>
            <pc:docMk/>
            <pc:sldMk cId="4059597377" sldId="271"/>
            <ac:spMk id="14" creationId="{B05FCA89-4BBA-49E6-B6EE-508025AA9750}"/>
          </ac:spMkLst>
        </pc:spChg>
        <pc:spChg chg="mod">
          <ac:chgData name="Amandeep Singh" userId="192f9da3-bd5c-42c3-8f41-80b8549e6782" providerId="ADAL" clId="{F830C17E-9D64-4BEF-A194-2F47D1141FB7}" dt="2021-06-07T23:14:38.033" v="474"/>
          <ac:spMkLst>
            <pc:docMk/>
            <pc:sldMk cId="4059597377" sldId="271"/>
            <ac:spMk id="15" creationId="{8E47BD9F-8194-4185-A4D7-D427E90C50CB}"/>
          </ac:spMkLst>
        </pc:spChg>
        <pc:spChg chg="mod">
          <ac:chgData name="Amandeep Singh" userId="192f9da3-bd5c-42c3-8f41-80b8549e6782" providerId="ADAL" clId="{F830C17E-9D64-4BEF-A194-2F47D1141FB7}" dt="2021-06-07T23:14:38.033" v="474"/>
          <ac:spMkLst>
            <pc:docMk/>
            <pc:sldMk cId="4059597377" sldId="271"/>
            <ac:spMk id="16" creationId="{6653D2F1-5F64-4184-BA28-B929938310CA}"/>
          </ac:spMkLst>
        </pc:spChg>
        <pc:spChg chg="mod">
          <ac:chgData name="Amandeep Singh" userId="192f9da3-bd5c-42c3-8f41-80b8549e6782" providerId="ADAL" clId="{F830C17E-9D64-4BEF-A194-2F47D1141FB7}" dt="2021-06-07T23:14:38.033" v="474"/>
          <ac:spMkLst>
            <pc:docMk/>
            <pc:sldMk cId="4059597377" sldId="271"/>
            <ac:spMk id="17" creationId="{6F7C3FA8-C17F-4BF9-B662-C5F617271BA0}"/>
          </ac:spMkLst>
        </pc:spChg>
        <pc:spChg chg="mod">
          <ac:chgData name="Amandeep Singh" userId="192f9da3-bd5c-42c3-8f41-80b8549e6782" providerId="ADAL" clId="{F830C17E-9D64-4BEF-A194-2F47D1141FB7}" dt="2021-06-07T23:14:38.033" v="474"/>
          <ac:spMkLst>
            <pc:docMk/>
            <pc:sldMk cId="4059597377" sldId="271"/>
            <ac:spMk id="18" creationId="{89DA1434-789F-46E6-84AE-FC3A43AFD337}"/>
          </ac:spMkLst>
        </pc:spChg>
        <pc:spChg chg="mod">
          <ac:chgData name="Amandeep Singh" userId="192f9da3-bd5c-42c3-8f41-80b8549e6782" providerId="ADAL" clId="{F830C17E-9D64-4BEF-A194-2F47D1141FB7}" dt="2021-06-07T23:14:38.033" v="474"/>
          <ac:spMkLst>
            <pc:docMk/>
            <pc:sldMk cId="4059597377" sldId="271"/>
            <ac:spMk id="19" creationId="{BA0EA572-C1CB-41B6-A204-D5F89CDB7743}"/>
          </ac:spMkLst>
        </pc:spChg>
        <pc:spChg chg="mod">
          <ac:chgData name="Amandeep Singh" userId="192f9da3-bd5c-42c3-8f41-80b8549e6782" providerId="ADAL" clId="{F830C17E-9D64-4BEF-A194-2F47D1141FB7}" dt="2021-06-10T23:17:40.313" v="811"/>
          <ac:spMkLst>
            <pc:docMk/>
            <pc:sldMk cId="4059597377" sldId="271"/>
            <ac:spMk id="22" creationId="{FB1D5A3F-4262-43C1-8748-DA8A42FC8052}"/>
          </ac:spMkLst>
        </pc:spChg>
        <pc:spChg chg="mod">
          <ac:chgData name="Amandeep Singh" userId="192f9da3-bd5c-42c3-8f41-80b8549e6782" providerId="ADAL" clId="{F830C17E-9D64-4BEF-A194-2F47D1141FB7}" dt="2021-06-10T23:17:40.313" v="811"/>
          <ac:spMkLst>
            <pc:docMk/>
            <pc:sldMk cId="4059597377" sldId="271"/>
            <ac:spMk id="23" creationId="{E2F648A6-09AB-415C-9145-EA95ABF35C89}"/>
          </ac:spMkLst>
        </pc:spChg>
        <pc:spChg chg="mod">
          <ac:chgData name="Amandeep Singh" userId="192f9da3-bd5c-42c3-8f41-80b8549e6782" providerId="ADAL" clId="{F830C17E-9D64-4BEF-A194-2F47D1141FB7}" dt="2021-06-10T23:17:40.313" v="811"/>
          <ac:spMkLst>
            <pc:docMk/>
            <pc:sldMk cId="4059597377" sldId="271"/>
            <ac:spMk id="24" creationId="{A68D8CB4-A390-41C0-8F73-653B203C19E8}"/>
          </ac:spMkLst>
        </pc:spChg>
        <pc:spChg chg="mod">
          <ac:chgData name="Amandeep Singh" userId="192f9da3-bd5c-42c3-8f41-80b8549e6782" providerId="ADAL" clId="{F830C17E-9D64-4BEF-A194-2F47D1141FB7}" dt="2021-06-10T23:17:40.313" v="811"/>
          <ac:spMkLst>
            <pc:docMk/>
            <pc:sldMk cId="4059597377" sldId="271"/>
            <ac:spMk id="25" creationId="{B93D54D0-ABA2-43C5-8EEB-0F72CB2E130A}"/>
          </ac:spMkLst>
        </pc:spChg>
        <pc:spChg chg="mod">
          <ac:chgData name="Amandeep Singh" userId="192f9da3-bd5c-42c3-8f41-80b8549e6782" providerId="ADAL" clId="{F830C17E-9D64-4BEF-A194-2F47D1141FB7}" dt="2021-06-10T23:17:40.313" v="811"/>
          <ac:spMkLst>
            <pc:docMk/>
            <pc:sldMk cId="4059597377" sldId="271"/>
            <ac:spMk id="26" creationId="{26921DC1-9358-4BC7-9CF6-DAE960E37525}"/>
          </ac:spMkLst>
        </pc:spChg>
        <pc:spChg chg="mod">
          <ac:chgData name="Amandeep Singh" userId="192f9da3-bd5c-42c3-8f41-80b8549e6782" providerId="ADAL" clId="{F830C17E-9D64-4BEF-A194-2F47D1141FB7}" dt="2021-06-10T23:17:40.313" v="811"/>
          <ac:spMkLst>
            <pc:docMk/>
            <pc:sldMk cId="4059597377" sldId="271"/>
            <ac:spMk id="27" creationId="{9462D498-DB1B-476B-827D-9E02D9F248A9}"/>
          </ac:spMkLst>
        </pc:spChg>
        <pc:spChg chg="mod">
          <ac:chgData name="Amandeep Singh" userId="192f9da3-bd5c-42c3-8f41-80b8549e6782" providerId="ADAL" clId="{F830C17E-9D64-4BEF-A194-2F47D1141FB7}" dt="2021-06-10T23:17:40.313" v="811"/>
          <ac:spMkLst>
            <pc:docMk/>
            <pc:sldMk cId="4059597377" sldId="271"/>
            <ac:spMk id="28" creationId="{DE124B5E-3247-4EC1-9C04-0A2F7B11B08C}"/>
          </ac:spMkLst>
        </pc:spChg>
        <pc:spChg chg="mod">
          <ac:chgData name="Amandeep Singh" userId="192f9da3-bd5c-42c3-8f41-80b8549e6782" providerId="ADAL" clId="{F830C17E-9D64-4BEF-A194-2F47D1141FB7}" dt="2021-06-10T23:17:40.313" v="811"/>
          <ac:spMkLst>
            <pc:docMk/>
            <pc:sldMk cId="4059597377" sldId="271"/>
            <ac:spMk id="29" creationId="{E2777D7D-BB98-4A67-A012-C2A21E2DF876}"/>
          </ac:spMkLst>
        </pc:spChg>
        <pc:spChg chg="mod">
          <ac:chgData name="Amandeep Singh" userId="192f9da3-bd5c-42c3-8f41-80b8549e6782" providerId="ADAL" clId="{F830C17E-9D64-4BEF-A194-2F47D1141FB7}" dt="2021-06-10T23:17:40.313" v="811"/>
          <ac:spMkLst>
            <pc:docMk/>
            <pc:sldMk cId="4059597377" sldId="271"/>
            <ac:spMk id="30" creationId="{F38403FA-2F74-4ABF-8EA6-1C4BB07CDDC5}"/>
          </ac:spMkLst>
        </pc:spChg>
        <pc:spChg chg="mod">
          <ac:chgData name="Amandeep Singh" userId="192f9da3-bd5c-42c3-8f41-80b8549e6782" providerId="ADAL" clId="{F830C17E-9D64-4BEF-A194-2F47D1141FB7}" dt="2021-06-10T23:17:40.313" v="811"/>
          <ac:spMkLst>
            <pc:docMk/>
            <pc:sldMk cId="4059597377" sldId="271"/>
            <ac:spMk id="31" creationId="{CD7A94EA-9F50-445F-82DE-8CC9771EB803}"/>
          </ac:spMkLst>
        </pc:spChg>
        <pc:spChg chg="mod">
          <ac:chgData name="Amandeep Singh" userId="192f9da3-bd5c-42c3-8f41-80b8549e6782" providerId="ADAL" clId="{F830C17E-9D64-4BEF-A194-2F47D1141FB7}" dt="2021-06-10T23:17:40.313" v="811"/>
          <ac:spMkLst>
            <pc:docMk/>
            <pc:sldMk cId="4059597377" sldId="271"/>
            <ac:spMk id="32" creationId="{CA05EA9E-EBDB-4EE2-BC14-2AC4B11808A2}"/>
          </ac:spMkLst>
        </pc:spChg>
        <pc:spChg chg="mod">
          <ac:chgData name="Amandeep Singh" userId="192f9da3-bd5c-42c3-8f41-80b8549e6782" providerId="ADAL" clId="{F830C17E-9D64-4BEF-A194-2F47D1141FB7}" dt="2021-06-10T23:17:40.313" v="811"/>
          <ac:spMkLst>
            <pc:docMk/>
            <pc:sldMk cId="4059597377" sldId="271"/>
            <ac:spMk id="33" creationId="{93FFB647-059E-4E26-873F-16D5A79FE14A}"/>
          </ac:spMkLst>
        </pc:spChg>
        <pc:spChg chg="mod">
          <ac:chgData name="Amandeep Singh" userId="192f9da3-bd5c-42c3-8f41-80b8549e6782" providerId="ADAL" clId="{F830C17E-9D64-4BEF-A194-2F47D1141FB7}" dt="2021-06-10T23:17:40.313" v="811"/>
          <ac:spMkLst>
            <pc:docMk/>
            <pc:sldMk cId="4059597377" sldId="271"/>
            <ac:spMk id="34" creationId="{8E6F09D6-0BE4-450E-9C60-7CD098713167}"/>
          </ac:spMkLst>
        </pc:spChg>
        <pc:spChg chg="mod">
          <ac:chgData name="Amandeep Singh" userId="192f9da3-bd5c-42c3-8f41-80b8549e6782" providerId="ADAL" clId="{F830C17E-9D64-4BEF-A194-2F47D1141FB7}" dt="2021-06-16T19:37:23.835" v="1249" actId="1076"/>
          <ac:spMkLst>
            <pc:docMk/>
            <pc:sldMk cId="4059597377" sldId="271"/>
            <ac:spMk id="37" creationId="{C1B9BF59-FD78-4598-AEEA-8D4C555B37D4}"/>
          </ac:spMkLst>
        </pc:spChg>
        <pc:spChg chg="mod">
          <ac:chgData name="Amandeep Singh" userId="192f9da3-bd5c-42c3-8f41-80b8549e6782" providerId="ADAL" clId="{F830C17E-9D64-4BEF-A194-2F47D1141FB7}" dt="2021-06-16T19:37:10.111" v="1243"/>
          <ac:spMkLst>
            <pc:docMk/>
            <pc:sldMk cId="4059597377" sldId="271"/>
            <ac:spMk id="39" creationId="{D1DBA7B4-3C57-4003-B892-A32D9A4EB557}"/>
          </ac:spMkLst>
        </pc:spChg>
        <pc:spChg chg="mod">
          <ac:chgData name="Amandeep Singh" userId="192f9da3-bd5c-42c3-8f41-80b8549e6782" providerId="ADAL" clId="{F830C17E-9D64-4BEF-A194-2F47D1141FB7}" dt="2021-06-16T19:37:10.111" v="1243"/>
          <ac:spMkLst>
            <pc:docMk/>
            <pc:sldMk cId="4059597377" sldId="271"/>
            <ac:spMk id="40" creationId="{67E54E70-B2D1-4301-B2FF-608B7D2817E8}"/>
          </ac:spMkLst>
        </pc:spChg>
        <pc:spChg chg="mod">
          <ac:chgData name="Amandeep Singh" userId="192f9da3-bd5c-42c3-8f41-80b8549e6782" providerId="ADAL" clId="{F830C17E-9D64-4BEF-A194-2F47D1141FB7}" dt="2021-06-16T19:37:10.111" v="1243"/>
          <ac:spMkLst>
            <pc:docMk/>
            <pc:sldMk cId="4059597377" sldId="271"/>
            <ac:spMk id="41" creationId="{45470A4D-5E54-46DF-9502-8920041BC60F}"/>
          </ac:spMkLst>
        </pc:spChg>
        <pc:spChg chg="mod">
          <ac:chgData name="Amandeep Singh" userId="192f9da3-bd5c-42c3-8f41-80b8549e6782" providerId="ADAL" clId="{F830C17E-9D64-4BEF-A194-2F47D1141FB7}" dt="2021-06-16T19:37:10.111" v="1243"/>
          <ac:spMkLst>
            <pc:docMk/>
            <pc:sldMk cId="4059597377" sldId="271"/>
            <ac:spMk id="42" creationId="{897C0111-A410-425A-A83B-B0EAC2DD0D9B}"/>
          </ac:spMkLst>
        </pc:spChg>
        <pc:spChg chg="mod">
          <ac:chgData name="Amandeep Singh" userId="192f9da3-bd5c-42c3-8f41-80b8549e6782" providerId="ADAL" clId="{F830C17E-9D64-4BEF-A194-2F47D1141FB7}" dt="2021-06-16T19:37:10.111" v="1243"/>
          <ac:spMkLst>
            <pc:docMk/>
            <pc:sldMk cId="4059597377" sldId="271"/>
            <ac:spMk id="43" creationId="{6CFE88F9-D6A0-49B8-B6D8-466B8D3F432A}"/>
          </ac:spMkLst>
        </pc:spChg>
        <pc:spChg chg="mod">
          <ac:chgData name="Amandeep Singh" userId="192f9da3-bd5c-42c3-8f41-80b8549e6782" providerId="ADAL" clId="{F830C17E-9D64-4BEF-A194-2F47D1141FB7}" dt="2021-06-16T19:37:10.111" v="1243"/>
          <ac:spMkLst>
            <pc:docMk/>
            <pc:sldMk cId="4059597377" sldId="271"/>
            <ac:spMk id="44" creationId="{90B4FC88-CF9D-43F8-88DD-70347B685A93}"/>
          </ac:spMkLst>
        </pc:spChg>
        <pc:spChg chg="mod">
          <ac:chgData name="Amandeep Singh" userId="192f9da3-bd5c-42c3-8f41-80b8549e6782" providerId="ADAL" clId="{F830C17E-9D64-4BEF-A194-2F47D1141FB7}" dt="2021-06-16T19:37:10.111" v="1243"/>
          <ac:spMkLst>
            <pc:docMk/>
            <pc:sldMk cId="4059597377" sldId="271"/>
            <ac:spMk id="45" creationId="{51BA410E-E17F-4560-BC01-81351B5A9813}"/>
          </ac:spMkLst>
        </pc:spChg>
        <pc:spChg chg="mod">
          <ac:chgData name="Amandeep Singh" userId="192f9da3-bd5c-42c3-8f41-80b8549e6782" providerId="ADAL" clId="{F830C17E-9D64-4BEF-A194-2F47D1141FB7}" dt="2021-06-16T19:37:10.111" v="1243"/>
          <ac:spMkLst>
            <pc:docMk/>
            <pc:sldMk cId="4059597377" sldId="271"/>
            <ac:spMk id="46" creationId="{5C6FD9E3-2736-4A61-8C52-A7A9F4D156F4}"/>
          </ac:spMkLst>
        </pc:spChg>
        <pc:spChg chg="mod">
          <ac:chgData name="Amandeep Singh" userId="192f9da3-bd5c-42c3-8f41-80b8549e6782" providerId="ADAL" clId="{F830C17E-9D64-4BEF-A194-2F47D1141FB7}" dt="2021-06-16T19:37:10.111" v="1243"/>
          <ac:spMkLst>
            <pc:docMk/>
            <pc:sldMk cId="4059597377" sldId="271"/>
            <ac:spMk id="47" creationId="{3963C89D-CD02-47D3-A349-0ED76CA8BD61}"/>
          </ac:spMkLst>
        </pc:spChg>
        <pc:spChg chg="mod">
          <ac:chgData name="Amandeep Singh" userId="192f9da3-bd5c-42c3-8f41-80b8549e6782" providerId="ADAL" clId="{F830C17E-9D64-4BEF-A194-2F47D1141FB7}" dt="2021-06-16T19:37:10.111" v="1243"/>
          <ac:spMkLst>
            <pc:docMk/>
            <pc:sldMk cId="4059597377" sldId="271"/>
            <ac:spMk id="48" creationId="{DC8259F0-F9B9-482F-AC41-BDADDA8EBDBC}"/>
          </ac:spMkLst>
        </pc:spChg>
        <pc:spChg chg="mod">
          <ac:chgData name="Amandeep Singh" userId="192f9da3-bd5c-42c3-8f41-80b8549e6782" providerId="ADAL" clId="{F830C17E-9D64-4BEF-A194-2F47D1141FB7}" dt="2021-06-16T19:37:10.111" v="1243"/>
          <ac:spMkLst>
            <pc:docMk/>
            <pc:sldMk cId="4059597377" sldId="271"/>
            <ac:spMk id="49" creationId="{51FFF1D6-6962-4E8F-B646-5A5BEBFF8C0B}"/>
          </ac:spMkLst>
        </pc:spChg>
        <pc:spChg chg="mod">
          <ac:chgData name="Amandeep Singh" userId="192f9da3-bd5c-42c3-8f41-80b8549e6782" providerId="ADAL" clId="{F830C17E-9D64-4BEF-A194-2F47D1141FB7}" dt="2021-06-16T19:37:10.111" v="1243"/>
          <ac:spMkLst>
            <pc:docMk/>
            <pc:sldMk cId="4059597377" sldId="271"/>
            <ac:spMk id="50" creationId="{5B6F9C80-959D-4A01-90E8-49B2AB459615}"/>
          </ac:spMkLst>
        </pc:spChg>
        <pc:spChg chg="mod">
          <ac:chgData name="Amandeep Singh" userId="192f9da3-bd5c-42c3-8f41-80b8549e6782" providerId="ADAL" clId="{F830C17E-9D64-4BEF-A194-2F47D1141FB7}" dt="2021-06-16T19:37:10.111" v="1243"/>
          <ac:spMkLst>
            <pc:docMk/>
            <pc:sldMk cId="4059597377" sldId="271"/>
            <ac:spMk id="51" creationId="{44C535CC-D289-41CF-884C-A28C25484327}"/>
          </ac:spMkLst>
        </pc:spChg>
        <pc:spChg chg="mod">
          <ac:chgData name="Amandeep Singh" userId="192f9da3-bd5c-42c3-8f41-80b8549e6782" providerId="ADAL" clId="{F830C17E-9D64-4BEF-A194-2F47D1141FB7}" dt="2021-06-16T19:37:10.111" v="1243"/>
          <ac:spMkLst>
            <pc:docMk/>
            <pc:sldMk cId="4059597377" sldId="271"/>
            <ac:spMk id="52" creationId="{C469CB41-ED2C-4FA3-BF67-CCC8BC7496FA}"/>
          </ac:spMkLst>
        </pc:spChg>
        <pc:grpChg chg="add del mod">
          <ac:chgData name="Amandeep Singh" userId="192f9da3-bd5c-42c3-8f41-80b8549e6782" providerId="ADAL" clId="{F830C17E-9D64-4BEF-A194-2F47D1141FB7}" dt="2021-06-10T23:17:33.922" v="810" actId="478"/>
          <ac:grpSpMkLst>
            <pc:docMk/>
            <pc:sldMk cId="4059597377" sldId="271"/>
            <ac:grpSpMk id="7" creationId="{6D0C1260-CFA9-434E-ACCA-4688DC6FAD33}"/>
          </ac:grpSpMkLst>
        </pc:grpChg>
        <pc:grpChg chg="add del mod">
          <ac:chgData name="Amandeep Singh" userId="192f9da3-bd5c-42c3-8f41-80b8549e6782" providerId="ADAL" clId="{F830C17E-9D64-4BEF-A194-2F47D1141FB7}" dt="2021-06-16T19:37:06.174" v="1242" actId="478"/>
          <ac:grpSpMkLst>
            <pc:docMk/>
            <pc:sldMk cId="4059597377" sldId="271"/>
            <ac:grpSpMk id="20" creationId="{F02959F2-37D7-4C5A-8BE3-221D1AB9FCF6}"/>
          </ac:grpSpMkLst>
        </pc:grpChg>
        <pc:grpChg chg="add mod">
          <ac:chgData name="Amandeep Singh" userId="192f9da3-bd5c-42c3-8f41-80b8549e6782" providerId="ADAL" clId="{F830C17E-9D64-4BEF-A194-2F47D1141FB7}" dt="2021-06-16T19:37:27.804" v="1250" actId="14100"/>
          <ac:grpSpMkLst>
            <pc:docMk/>
            <pc:sldMk cId="4059597377" sldId="271"/>
            <ac:grpSpMk id="36" creationId="{333F0CF7-85A6-4DD4-9653-A621FEF2F199}"/>
          </ac:grpSpMkLst>
        </pc:grpChg>
        <pc:graphicFrameChg chg="mod modGraphic">
          <ac:chgData name="Amandeep Singh" userId="192f9da3-bd5c-42c3-8f41-80b8549e6782" providerId="ADAL" clId="{F830C17E-9D64-4BEF-A194-2F47D1141FB7}" dt="2021-06-16T19:37:20.722" v="1247" actId="14100"/>
          <ac:graphicFrameMkLst>
            <pc:docMk/>
            <pc:sldMk cId="4059597377" sldId="271"/>
            <ac:graphicFrameMk id="35" creationId="{8ED9BE5A-E89B-43D7-B6FE-223D219DC8AD}"/>
          </ac:graphicFrameMkLst>
        </pc:graphicFrameChg>
        <pc:picChg chg="del">
          <ac:chgData name="Amandeep Singh" userId="192f9da3-bd5c-42c3-8f41-80b8549e6782" providerId="ADAL" clId="{F830C17E-9D64-4BEF-A194-2F47D1141FB7}" dt="2021-06-07T23:14:41.907" v="475" actId="478"/>
          <ac:picMkLst>
            <pc:docMk/>
            <pc:sldMk cId="4059597377" sldId="271"/>
            <ac:picMk id="6" creationId="{27FC0E96-12F9-457A-9C0E-93FA73ADE820}"/>
          </ac:picMkLst>
        </pc:picChg>
        <pc:inkChg chg="mod">
          <ac:chgData name="Amandeep Singh" userId="192f9da3-bd5c-42c3-8f41-80b8549e6782" providerId="ADAL" clId="{F830C17E-9D64-4BEF-A194-2F47D1141FB7}" dt="2021-06-07T23:14:38.033" v="474"/>
          <ac:inkMkLst>
            <pc:docMk/>
            <pc:sldMk cId="4059597377" sldId="271"/>
            <ac:inkMk id="8" creationId="{5221CD1F-D48F-4EB8-A53F-A925F39093BD}"/>
          </ac:inkMkLst>
        </pc:inkChg>
        <pc:inkChg chg="mod">
          <ac:chgData name="Amandeep Singh" userId="192f9da3-bd5c-42c3-8f41-80b8549e6782" providerId="ADAL" clId="{F830C17E-9D64-4BEF-A194-2F47D1141FB7}" dt="2021-06-10T23:17:40.313" v="811"/>
          <ac:inkMkLst>
            <pc:docMk/>
            <pc:sldMk cId="4059597377" sldId="271"/>
            <ac:inkMk id="21" creationId="{4C35E4E1-6800-43CA-B7AE-2669F9D95F19}"/>
          </ac:inkMkLst>
        </pc:inkChg>
        <pc:inkChg chg="mod">
          <ac:chgData name="Amandeep Singh" userId="192f9da3-bd5c-42c3-8f41-80b8549e6782" providerId="ADAL" clId="{F830C17E-9D64-4BEF-A194-2F47D1141FB7}" dt="2021-06-16T19:37:10.111" v="1243"/>
          <ac:inkMkLst>
            <pc:docMk/>
            <pc:sldMk cId="4059597377" sldId="271"/>
            <ac:inkMk id="38" creationId="{9B1B8C83-F910-49D2-8863-E42F601C811F}"/>
          </ac:inkMkLst>
        </pc:inkChg>
      </pc:sldChg>
      <pc:sldChg chg="addSp delSp modSp del mod">
        <pc:chgData name="Amandeep Singh" userId="192f9da3-bd5c-42c3-8f41-80b8549e6782" providerId="ADAL" clId="{F830C17E-9D64-4BEF-A194-2F47D1141FB7}" dt="2021-06-09T23:39:52.262" v="713" actId="2696"/>
        <pc:sldMkLst>
          <pc:docMk/>
          <pc:sldMk cId="769921261" sldId="272"/>
        </pc:sldMkLst>
        <pc:spChg chg="mod">
          <ac:chgData name="Amandeep Singh" userId="192f9da3-bd5c-42c3-8f41-80b8549e6782" providerId="ADAL" clId="{F830C17E-9D64-4BEF-A194-2F47D1141FB7}" dt="2021-06-07T23:15:56.011" v="486" actId="1076"/>
          <ac:spMkLst>
            <pc:docMk/>
            <pc:sldMk cId="769921261" sldId="272"/>
            <ac:spMk id="2" creationId="{58B3E134-A630-437B-BA6E-1FED6A986F87}"/>
          </ac:spMkLst>
        </pc:spChg>
        <pc:spChg chg="add del mod">
          <ac:chgData name="Amandeep Singh" userId="192f9da3-bd5c-42c3-8f41-80b8549e6782" providerId="ADAL" clId="{F830C17E-9D64-4BEF-A194-2F47D1141FB7}" dt="2021-06-07T22:30:58.537" v="8" actId="22"/>
          <ac:spMkLst>
            <pc:docMk/>
            <pc:sldMk cId="769921261" sldId="272"/>
            <ac:spMk id="7" creationId="{F7FAF80C-3BA4-4657-B252-33E1708A762E}"/>
          </ac:spMkLst>
        </pc:spChg>
        <pc:spChg chg="add del mod">
          <ac:chgData name="Amandeep Singh" userId="192f9da3-bd5c-42c3-8f41-80b8549e6782" providerId="ADAL" clId="{F830C17E-9D64-4BEF-A194-2F47D1141FB7}" dt="2021-06-07T22:31:12.954" v="12" actId="478"/>
          <ac:spMkLst>
            <pc:docMk/>
            <pc:sldMk cId="769921261" sldId="272"/>
            <ac:spMk id="8" creationId="{DC5E726B-B244-4530-9D7C-EA81DF667EC7}"/>
          </ac:spMkLst>
        </pc:spChg>
        <pc:spChg chg="mod">
          <ac:chgData name="Amandeep Singh" userId="192f9da3-bd5c-42c3-8f41-80b8549e6782" providerId="ADAL" clId="{F830C17E-9D64-4BEF-A194-2F47D1141FB7}" dt="2021-06-07T22:52:42.005" v="268" actId="1076"/>
          <ac:spMkLst>
            <pc:docMk/>
            <pc:sldMk cId="769921261" sldId="272"/>
            <ac:spMk id="10" creationId="{67239103-D575-423F-8B20-3CE1A52423B7}"/>
          </ac:spMkLst>
        </pc:spChg>
        <pc:spChg chg="mod">
          <ac:chgData name="Amandeep Singh" userId="192f9da3-bd5c-42c3-8f41-80b8549e6782" providerId="ADAL" clId="{F830C17E-9D64-4BEF-A194-2F47D1141FB7}" dt="2021-06-07T23:15:50.975" v="484" actId="1076"/>
          <ac:spMkLst>
            <pc:docMk/>
            <pc:sldMk cId="769921261" sldId="272"/>
            <ac:spMk id="11" creationId="{A9D1667F-FA89-47A1-AEF1-54EAD057CD1F}"/>
          </ac:spMkLst>
        </pc:spChg>
        <pc:spChg chg="mod topLvl">
          <ac:chgData name="Amandeep Singh" userId="192f9da3-bd5c-42c3-8f41-80b8549e6782" providerId="ADAL" clId="{F830C17E-9D64-4BEF-A194-2F47D1141FB7}" dt="2021-06-07T22:48:12.934" v="115" actId="165"/>
          <ac:spMkLst>
            <pc:docMk/>
            <pc:sldMk cId="769921261" sldId="272"/>
            <ac:spMk id="14" creationId="{7711D21B-C738-4C6F-A1F8-D722F3F7E2D7}"/>
          </ac:spMkLst>
        </pc:spChg>
        <pc:spChg chg="add mod topLvl">
          <ac:chgData name="Amandeep Singh" userId="192f9da3-bd5c-42c3-8f41-80b8549e6782" providerId="ADAL" clId="{F830C17E-9D64-4BEF-A194-2F47D1141FB7}" dt="2021-06-07T22:48:12.934" v="115" actId="165"/>
          <ac:spMkLst>
            <pc:docMk/>
            <pc:sldMk cId="769921261" sldId="272"/>
            <ac:spMk id="19" creationId="{91999354-4611-49C8-A91A-EDBA2CFAB891}"/>
          </ac:spMkLst>
        </pc:spChg>
        <pc:spChg chg="add del">
          <ac:chgData name="Amandeep Singh" userId="192f9da3-bd5c-42c3-8f41-80b8549e6782" providerId="ADAL" clId="{F830C17E-9D64-4BEF-A194-2F47D1141FB7}" dt="2021-06-07T22:48:16.814" v="117" actId="22"/>
          <ac:spMkLst>
            <pc:docMk/>
            <pc:sldMk cId="769921261" sldId="272"/>
            <ac:spMk id="21" creationId="{EB973D60-7CE5-46F9-A72B-9BCA1A15F2F7}"/>
          </ac:spMkLst>
        </pc:spChg>
        <pc:spChg chg="add del">
          <ac:chgData name="Amandeep Singh" userId="192f9da3-bd5c-42c3-8f41-80b8549e6782" providerId="ADAL" clId="{F830C17E-9D64-4BEF-A194-2F47D1141FB7}" dt="2021-06-07T22:48:16.814" v="117" actId="22"/>
          <ac:spMkLst>
            <pc:docMk/>
            <pc:sldMk cId="769921261" sldId="272"/>
            <ac:spMk id="22" creationId="{75CF242A-782D-4E99-9CF4-F8B5D9BA636D}"/>
          </ac:spMkLst>
        </pc:spChg>
        <pc:spChg chg="add del">
          <ac:chgData name="Amandeep Singh" userId="192f9da3-bd5c-42c3-8f41-80b8549e6782" providerId="ADAL" clId="{F830C17E-9D64-4BEF-A194-2F47D1141FB7}" dt="2021-06-07T22:48:16.814" v="117" actId="22"/>
          <ac:spMkLst>
            <pc:docMk/>
            <pc:sldMk cId="769921261" sldId="272"/>
            <ac:spMk id="23" creationId="{D872E193-5520-492C-A135-D9B43B18A96C}"/>
          </ac:spMkLst>
        </pc:spChg>
        <pc:spChg chg="add del">
          <ac:chgData name="Amandeep Singh" userId="192f9da3-bd5c-42c3-8f41-80b8549e6782" providerId="ADAL" clId="{F830C17E-9D64-4BEF-A194-2F47D1141FB7}" dt="2021-06-07T22:32:44.644" v="22" actId="22"/>
          <ac:spMkLst>
            <pc:docMk/>
            <pc:sldMk cId="769921261" sldId="272"/>
            <ac:spMk id="24" creationId="{960B814D-F64D-429B-8091-7C72887BADA3}"/>
          </ac:spMkLst>
        </pc:spChg>
        <pc:spChg chg="add del">
          <ac:chgData name="Amandeep Singh" userId="192f9da3-bd5c-42c3-8f41-80b8549e6782" providerId="ADAL" clId="{F830C17E-9D64-4BEF-A194-2F47D1141FB7}" dt="2021-06-07T22:48:16.814" v="117" actId="22"/>
          <ac:spMkLst>
            <pc:docMk/>
            <pc:sldMk cId="769921261" sldId="272"/>
            <ac:spMk id="26" creationId="{8B54DAA4-727A-42F0-8EC8-3A8527E3562B}"/>
          </ac:spMkLst>
        </pc:spChg>
        <pc:spChg chg="add del">
          <ac:chgData name="Amandeep Singh" userId="192f9da3-bd5c-42c3-8f41-80b8549e6782" providerId="ADAL" clId="{F830C17E-9D64-4BEF-A194-2F47D1141FB7}" dt="2021-06-07T22:48:16.814" v="117" actId="22"/>
          <ac:spMkLst>
            <pc:docMk/>
            <pc:sldMk cId="769921261" sldId="272"/>
            <ac:spMk id="27" creationId="{CD26C755-BD44-4D7D-B0E5-D74EFF5EBB3B}"/>
          </ac:spMkLst>
        </pc:spChg>
        <pc:spChg chg="add del">
          <ac:chgData name="Amandeep Singh" userId="192f9da3-bd5c-42c3-8f41-80b8549e6782" providerId="ADAL" clId="{F830C17E-9D64-4BEF-A194-2F47D1141FB7}" dt="2021-06-07T22:48:16.814" v="117" actId="22"/>
          <ac:spMkLst>
            <pc:docMk/>
            <pc:sldMk cId="769921261" sldId="272"/>
            <ac:spMk id="29" creationId="{30B860FC-B996-4439-BA7D-3E276836E6EB}"/>
          </ac:spMkLst>
        </pc:spChg>
        <pc:spChg chg="add del">
          <ac:chgData name="Amandeep Singh" userId="192f9da3-bd5c-42c3-8f41-80b8549e6782" providerId="ADAL" clId="{F830C17E-9D64-4BEF-A194-2F47D1141FB7}" dt="2021-06-07T22:48:16.814" v="117" actId="22"/>
          <ac:spMkLst>
            <pc:docMk/>
            <pc:sldMk cId="769921261" sldId="272"/>
            <ac:spMk id="31" creationId="{A54C0E26-A391-4B16-8945-FFB5CFF1B2DA}"/>
          </ac:spMkLst>
        </pc:spChg>
        <pc:spChg chg="add mod">
          <ac:chgData name="Amandeep Singh" userId="192f9da3-bd5c-42c3-8f41-80b8549e6782" providerId="ADAL" clId="{F830C17E-9D64-4BEF-A194-2F47D1141FB7}" dt="2021-06-07T22:49:57" v="184" actId="6549"/>
          <ac:spMkLst>
            <pc:docMk/>
            <pc:sldMk cId="769921261" sldId="272"/>
            <ac:spMk id="33" creationId="{4835A690-A000-4DAD-AF3D-4062F1E3807C}"/>
          </ac:spMkLst>
        </pc:spChg>
        <pc:spChg chg="add mod">
          <ac:chgData name="Amandeep Singh" userId="192f9da3-bd5c-42c3-8f41-80b8549e6782" providerId="ADAL" clId="{F830C17E-9D64-4BEF-A194-2F47D1141FB7}" dt="2021-06-07T22:59:04.263" v="347" actId="6549"/>
          <ac:spMkLst>
            <pc:docMk/>
            <pc:sldMk cId="769921261" sldId="272"/>
            <ac:spMk id="35" creationId="{479CC1FE-7DC9-44E0-897C-393E89008B61}"/>
          </ac:spMkLst>
        </pc:spChg>
        <pc:spChg chg="mod topLvl">
          <ac:chgData name="Amandeep Singh" userId="192f9da3-bd5c-42c3-8f41-80b8549e6782" providerId="ADAL" clId="{F830C17E-9D64-4BEF-A194-2F47D1141FB7}" dt="2021-06-07T22:48:12.934" v="115" actId="165"/>
          <ac:spMkLst>
            <pc:docMk/>
            <pc:sldMk cId="769921261" sldId="272"/>
            <ac:spMk id="41" creationId="{127047F8-FEDB-43A1-AFF9-54D4E02E9811}"/>
          </ac:spMkLst>
        </pc:spChg>
        <pc:spChg chg="topLvl">
          <ac:chgData name="Amandeep Singh" userId="192f9da3-bd5c-42c3-8f41-80b8549e6782" providerId="ADAL" clId="{F830C17E-9D64-4BEF-A194-2F47D1141FB7}" dt="2021-06-07T22:48:12.934" v="115" actId="165"/>
          <ac:spMkLst>
            <pc:docMk/>
            <pc:sldMk cId="769921261" sldId="272"/>
            <ac:spMk id="42" creationId="{B57DE825-AC95-433A-AD29-B48300DDAC24}"/>
          </ac:spMkLst>
        </pc:spChg>
        <pc:spChg chg="topLvl">
          <ac:chgData name="Amandeep Singh" userId="192f9da3-bd5c-42c3-8f41-80b8549e6782" providerId="ADAL" clId="{F830C17E-9D64-4BEF-A194-2F47D1141FB7}" dt="2021-06-07T22:48:12.934" v="115" actId="165"/>
          <ac:spMkLst>
            <pc:docMk/>
            <pc:sldMk cId="769921261" sldId="272"/>
            <ac:spMk id="43" creationId="{68EEC265-E34B-4974-9B42-90AA49BF2242}"/>
          </ac:spMkLst>
        </pc:spChg>
        <pc:spChg chg="topLvl">
          <ac:chgData name="Amandeep Singh" userId="192f9da3-bd5c-42c3-8f41-80b8549e6782" providerId="ADAL" clId="{F830C17E-9D64-4BEF-A194-2F47D1141FB7}" dt="2021-06-07T22:48:12.934" v="115" actId="165"/>
          <ac:spMkLst>
            <pc:docMk/>
            <pc:sldMk cId="769921261" sldId="272"/>
            <ac:spMk id="44" creationId="{C4B1D6C7-3160-4331-80FB-8DBB87B964FC}"/>
          </ac:spMkLst>
        </pc:spChg>
        <pc:spChg chg="topLvl">
          <ac:chgData name="Amandeep Singh" userId="192f9da3-bd5c-42c3-8f41-80b8549e6782" providerId="ADAL" clId="{F830C17E-9D64-4BEF-A194-2F47D1141FB7}" dt="2021-06-07T22:48:12.934" v="115" actId="165"/>
          <ac:spMkLst>
            <pc:docMk/>
            <pc:sldMk cId="769921261" sldId="272"/>
            <ac:spMk id="47" creationId="{C08D3209-2199-4E75-A5CB-5B006C1F1A56}"/>
          </ac:spMkLst>
        </pc:spChg>
        <pc:grpChg chg="del mod topLvl">
          <ac:chgData name="Amandeep Singh" userId="192f9da3-bd5c-42c3-8f41-80b8549e6782" providerId="ADAL" clId="{F830C17E-9D64-4BEF-A194-2F47D1141FB7}" dt="2021-06-07T22:31:04.290" v="9" actId="165"/>
          <ac:grpSpMkLst>
            <pc:docMk/>
            <pc:sldMk cId="769921261" sldId="272"/>
            <ac:grpSpMk id="4" creationId="{81BBF882-485A-456C-85FC-9CB9A020E534}"/>
          </ac:grpSpMkLst>
        </pc:grpChg>
        <pc:grpChg chg="mod">
          <ac:chgData name="Amandeep Singh" userId="192f9da3-bd5c-42c3-8f41-80b8549e6782" providerId="ADAL" clId="{F830C17E-9D64-4BEF-A194-2F47D1141FB7}" dt="2021-06-07T23:15:28.820" v="482" actId="14100"/>
          <ac:grpSpMkLst>
            <pc:docMk/>
            <pc:sldMk cId="769921261" sldId="272"/>
            <ac:grpSpMk id="5" creationId="{29A05D10-0C08-4611-A2C8-652828D3CB95}"/>
          </ac:grpSpMkLst>
        </pc:grpChg>
        <pc:grpChg chg="del">
          <ac:chgData name="Amandeep Singh" userId="192f9da3-bd5c-42c3-8f41-80b8549e6782" providerId="ADAL" clId="{F830C17E-9D64-4BEF-A194-2F47D1141FB7}" dt="2021-06-07T22:30:39.538" v="0" actId="165"/>
          <ac:grpSpMkLst>
            <pc:docMk/>
            <pc:sldMk cId="769921261" sldId="272"/>
            <ac:grpSpMk id="6" creationId="{F100C3D0-B704-48A9-BB73-B3B39171029C}"/>
          </ac:grpSpMkLst>
        </pc:grpChg>
        <pc:grpChg chg="add del mod">
          <ac:chgData name="Amandeep Singh" userId="192f9da3-bd5c-42c3-8f41-80b8549e6782" providerId="ADAL" clId="{F830C17E-9D64-4BEF-A194-2F47D1141FB7}" dt="2021-06-07T22:33:41.735" v="47" actId="165"/>
          <ac:grpSpMkLst>
            <pc:docMk/>
            <pc:sldMk cId="769921261" sldId="272"/>
            <ac:grpSpMk id="15" creationId="{ABBA6776-B026-4F1F-9FB8-C75955B7C87A}"/>
          </ac:grpSpMkLst>
        </pc:grpChg>
        <pc:grpChg chg="add del">
          <ac:chgData name="Amandeep Singh" userId="192f9da3-bd5c-42c3-8f41-80b8549e6782" providerId="ADAL" clId="{F830C17E-9D64-4BEF-A194-2F47D1141FB7}" dt="2021-06-07T22:48:12.934" v="115" actId="165"/>
          <ac:grpSpMkLst>
            <pc:docMk/>
            <pc:sldMk cId="769921261" sldId="272"/>
            <ac:grpSpMk id="20" creationId="{47A288BD-E2E3-4661-A41E-DB744591CECB}"/>
          </ac:grpSpMkLst>
        </pc:grpChg>
        <pc:grpChg chg="add mod">
          <ac:chgData name="Amandeep Singh" userId="192f9da3-bd5c-42c3-8f41-80b8549e6782" providerId="ADAL" clId="{F830C17E-9D64-4BEF-A194-2F47D1141FB7}" dt="2021-06-07T23:15:25.222" v="481" actId="1076"/>
          <ac:grpSpMkLst>
            <pc:docMk/>
            <pc:sldMk cId="769921261" sldId="272"/>
            <ac:grpSpMk id="37" creationId="{8B1DB095-C26E-43E3-9EDF-61DA2EFBA3DE}"/>
          </ac:grpSpMkLst>
        </pc:grpChg>
        <pc:picChg chg="add del mod">
          <ac:chgData name="Amandeep Singh" userId="192f9da3-bd5c-42c3-8f41-80b8549e6782" providerId="ADAL" clId="{F830C17E-9D64-4BEF-A194-2F47D1141FB7}" dt="2021-06-07T22:32:54.594" v="25" actId="478"/>
          <ac:picMkLst>
            <pc:docMk/>
            <pc:sldMk cId="769921261" sldId="272"/>
            <ac:picMk id="12" creationId="{F7B4D007-3B58-460B-B475-78E295E3E18A}"/>
          </ac:picMkLst>
        </pc:picChg>
      </pc:sldChg>
      <pc:sldChg chg="addSp delSp modSp new mod">
        <pc:chgData name="Amandeep Singh" userId="192f9da3-bd5c-42c3-8f41-80b8549e6782" providerId="ADAL" clId="{F830C17E-9D64-4BEF-A194-2F47D1141FB7}" dt="2021-06-16T19:33:50.305" v="1200" actId="108"/>
        <pc:sldMkLst>
          <pc:docMk/>
          <pc:sldMk cId="2059851483" sldId="273"/>
        </pc:sldMkLst>
        <pc:spChg chg="del">
          <ac:chgData name="Amandeep Singh" userId="192f9da3-bd5c-42c3-8f41-80b8549e6782" providerId="ADAL" clId="{F830C17E-9D64-4BEF-A194-2F47D1141FB7}" dt="2021-06-07T22:56:58.245" v="291" actId="478"/>
          <ac:spMkLst>
            <pc:docMk/>
            <pc:sldMk cId="2059851483" sldId="273"/>
            <ac:spMk id="2" creationId="{84E6A125-3D8B-4E27-91E9-FB644010E98A}"/>
          </ac:spMkLst>
        </pc:spChg>
        <pc:spChg chg="del">
          <ac:chgData name="Amandeep Singh" userId="192f9da3-bd5c-42c3-8f41-80b8549e6782" providerId="ADAL" clId="{F830C17E-9D64-4BEF-A194-2F47D1141FB7}" dt="2021-06-07T22:57:00.944" v="292" actId="478"/>
          <ac:spMkLst>
            <pc:docMk/>
            <pc:sldMk cId="2059851483" sldId="273"/>
            <ac:spMk id="3" creationId="{78138A94-66B0-4BD6-9CAA-AB2151274FBA}"/>
          </ac:spMkLst>
        </pc:spChg>
        <pc:spChg chg="add mod">
          <ac:chgData name="Amandeep Singh" userId="192f9da3-bd5c-42c3-8f41-80b8549e6782" providerId="ADAL" clId="{F830C17E-9D64-4BEF-A194-2F47D1141FB7}" dt="2021-06-10T23:13:37.283" v="779" actId="14100"/>
          <ac:spMkLst>
            <pc:docMk/>
            <pc:sldMk cId="2059851483" sldId="273"/>
            <ac:spMk id="5" creationId="{85C12988-1516-44F3-98CE-97F59A17ADD7}"/>
          </ac:spMkLst>
        </pc:spChg>
        <pc:spChg chg="add mod topLvl">
          <ac:chgData name="Amandeep Singh" userId="192f9da3-bd5c-42c3-8f41-80b8549e6782" providerId="ADAL" clId="{F830C17E-9D64-4BEF-A194-2F47D1141FB7}" dt="2021-06-16T19:20:24.204" v="1052" actId="1076"/>
          <ac:spMkLst>
            <pc:docMk/>
            <pc:sldMk cId="2059851483" sldId="273"/>
            <ac:spMk id="9" creationId="{A66935F2-8E41-469A-8E88-951EF09B6BC9}"/>
          </ac:spMkLst>
        </pc:spChg>
        <pc:spChg chg="mod">
          <ac:chgData name="Amandeep Singh" userId="192f9da3-bd5c-42c3-8f41-80b8549e6782" providerId="ADAL" clId="{F830C17E-9D64-4BEF-A194-2F47D1141FB7}" dt="2021-06-07T23:04:01.621" v="377" actId="207"/>
          <ac:spMkLst>
            <pc:docMk/>
            <pc:sldMk cId="2059851483" sldId="273"/>
            <ac:spMk id="15" creationId="{03CD6F75-F542-4550-8C7A-7159B6590B7E}"/>
          </ac:spMkLst>
        </pc:spChg>
        <pc:spChg chg="mod">
          <ac:chgData name="Amandeep Singh" userId="192f9da3-bd5c-42c3-8f41-80b8549e6782" providerId="ADAL" clId="{F830C17E-9D64-4BEF-A194-2F47D1141FB7}" dt="2021-06-07T23:03:56.881" v="376" actId="207"/>
          <ac:spMkLst>
            <pc:docMk/>
            <pc:sldMk cId="2059851483" sldId="273"/>
            <ac:spMk id="16" creationId="{8835ED79-F6A6-416F-BB03-E43110140328}"/>
          </ac:spMkLst>
        </pc:spChg>
        <pc:spChg chg="mod">
          <ac:chgData name="Amandeep Singh" userId="192f9da3-bd5c-42c3-8f41-80b8549e6782" providerId="ADAL" clId="{F830C17E-9D64-4BEF-A194-2F47D1141FB7}" dt="2021-06-07T23:03:39.917" v="374" actId="207"/>
          <ac:spMkLst>
            <pc:docMk/>
            <pc:sldMk cId="2059851483" sldId="273"/>
            <ac:spMk id="17" creationId="{DDAB123C-5F4A-4084-80FF-D9063B541AED}"/>
          </ac:spMkLst>
        </pc:spChg>
        <pc:spChg chg="mod">
          <ac:chgData name="Amandeep Singh" userId="192f9da3-bd5c-42c3-8f41-80b8549e6782" providerId="ADAL" clId="{F830C17E-9D64-4BEF-A194-2F47D1141FB7}" dt="2021-06-07T23:03:36.369" v="373" actId="207"/>
          <ac:spMkLst>
            <pc:docMk/>
            <pc:sldMk cId="2059851483" sldId="273"/>
            <ac:spMk id="18" creationId="{45250D29-FEA5-469C-8871-3AC3B366AC2F}"/>
          </ac:spMkLst>
        </pc:spChg>
        <pc:spChg chg="mod">
          <ac:chgData name="Amandeep Singh" userId="192f9da3-bd5c-42c3-8f41-80b8549e6782" providerId="ADAL" clId="{F830C17E-9D64-4BEF-A194-2F47D1141FB7}" dt="2021-06-07T23:03:32.967" v="372" actId="207"/>
          <ac:spMkLst>
            <pc:docMk/>
            <pc:sldMk cId="2059851483" sldId="273"/>
            <ac:spMk id="19" creationId="{B3A59CB2-1BDD-4798-8D62-AE42A8016FC1}"/>
          </ac:spMkLst>
        </pc:spChg>
        <pc:spChg chg="mod">
          <ac:chgData name="Amandeep Singh" userId="192f9da3-bd5c-42c3-8f41-80b8549e6782" providerId="ADAL" clId="{F830C17E-9D64-4BEF-A194-2F47D1141FB7}" dt="2021-06-07T23:03:28.384" v="371" actId="207"/>
          <ac:spMkLst>
            <pc:docMk/>
            <pc:sldMk cId="2059851483" sldId="273"/>
            <ac:spMk id="20" creationId="{FAC454A3-9818-4BC3-BB13-C1A1083AEBC9}"/>
          </ac:spMkLst>
        </pc:spChg>
        <pc:spChg chg="mod">
          <ac:chgData name="Amandeep Singh" userId="192f9da3-bd5c-42c3-8f41-80b8549e6782" providerId="ADAL" clId="{F830C17E-9D64-4BEF-A194-2F47D1141FB7}" dt="2021-06-07T23:00:08.765" v="348"/>
          <ac:spMkLst>
            <pc:docMk/>
            <pc:sldMk cId="2059851483" sldId="273"/>
            <ac:spMk id="21" creationId="{12CA4E5E-C398-43B1-809A-6CCB0F32798A}"/>
          </ac:spMkLst>
        </pc:spChg>
        <pc:spChg chg="mod">
          <ac:chgData name="Amandeep Singh" userId="192f9da3-bd5c-42c3-8f41-80b8549e6782" providerId="ADAL" clId="{F830C17E-9D64-4BEF-A194-2F47D1141FB7}" dt="2021-06-07T23:02:39.028" v="368" actId="207"/>
          <ac:spMkLst>
            <pc:docMk/>
            <pc:sldMk cId="2059851483" sldId="273"/>
            <ac:spMk id="22" creationId="{740A56F6-24DF-43CF-A45E-D0E17EA3C7C1}"/>
          </ac:spMkLst>
        </pc:spChg>
        <pc:spChg chg="mod">
          <ac:chgData name="Amandeep Singh" userId="192f9da3-bd5c-42c3-8f41-80b8549e6782" providerId="ADAL" clId="{F830C17E-9D64-4BEF-A194-2F47D1141FB7}" dt="2021-06-16T19:33:50.305" v="1200" actId="108"/>
          <ac:spMkLst>
            <pc:docMk/>
            <pc:sldMk cId="2059851483" sldId="273"/>
            <ac:spMk id="22" creationId="{AA9CD104-14B5-4260-A450-3D709B3391FE}"/>
          </ac:spMkLst>
        </pc:spChg>
        <pc:spChg chg="mod">
          <ac:chgData name="Amandeep Singh" userId="192f9da3-bd5c-42c3-8f41-80b8549e6782" providerId="ADAL" clId="{F830C17E-9D64-4BEF-A194-2F47D1141FB7}" dt="2021-06-16T19:33:40.100" v="1198" actId="108"/>
          <ac:spMkLst>
            <pc:docMk/>
            <pc:sldMk cId="2059851483" sldId="273"/>
            <ac:spMk id="23" creationId="{28BDA27E-B8BA-4A06-BB61-B5609CB0E6CC}"/>
          </ac:spMkLst>
        </pc:spChg>
        <pc:spChg chg="mod">
          <ac:chgData name="Amandeep Singh" userId="192f9da3-bd5c-42c3-8f41-80b8549e6782" providerId="ADAL" clId="{F830C17E-9D64-4BEF-A194-2F47D1141FB7}" dt="2021-06-07T23:03:24.349" v="370" actId="207"/>
          <ac:spMkLst>
            <pc:docMk/>
            <pc:sldMk cId="2059851483" sldId="273"/>
            <ac:spMk id="23" creationId="{E14177ED-A5E9-4744-BC53-5412FBCBA4D9}"/>
          </ac:spMkLst>
        </pc:spChg>
        <pc:spChg chg="add mod topLvl">
          <ac:chgData name="Amandeep Singh" userId="192f9da3-bd5c-42c3-8f41-80b8549e6782" providerId="ADAL" clId="{F830C17E-9D64-4BEF-A194-2F47D1141FB7}" dt="2021-06-10T23:02:10.687" v="725" actId="1076"/>
          <ac:spMkLst>
            <pc:docMk/>
            <pc:sldMk cId="2059851483" sldId="273"/>
            <ac:spMk id="25" creationId="{1B8F8B17-969A-4E59-9034-716A9BD379E5}"/>
          </ac:spMkLst>
        </pc:spChg>
        <pc:spChg chg="add mod topLvl">
          <ac:chgData name="Amandeep Singh" userId="192f9da3-bd5c-42c3-8f41-80b8549e6782" providerId="ADAL" clId="{F830C17E-9D64-4BEF-A194-2F47D1141FB7}" dt="2021-06-10T23:02:10.687" v="725" actId="1076"/>
          <ac:spMkLst>
            <pc:docMk/>
            <pc:sldMk cId="2059851483" sldId="273"/>
            <ac:spMk id="26" creationId="{8BB4A349-E31C-479A-BA6B-6E89AFB7D906}"/>
          </ac:spMkLst>
        </pc:spChg>
        <pc:spChg chg="add mod topLvl">
          <ac:chgData name="Amandeep Singh" userId="192f9da3-bd5c-42c3-8f41-80b8549e6782" providerId="ADAL" clId="{F830C17E-9D64-4BEF-A194-2F47D1141FB7}" dt="2021-06-10T23:04:55.318" v="749" actId="108"/>
          <ac:spMkLst>
            <pc:docMk/>
            <pc:sldMk cId="2059851483" sldId="273"/>
            <ac:spMk id="27" creationId="{CFA0F443-6178-4C61-A192-72E54D59BECC}"/>
          </ac:spMkLst>
        </pc:spChg>
        <pc:spChg chg="add mod topLvl">
          <ac:chgData name="Amandeep Singh" userId="192f9da3-bd5c-42c3-8f41-80b8549e6782" providerId="ADAL" clId="{F830C17E-9D64-4BEF-A194-2F47D1141FB7}" dt="2021-06-10T23:04:53.499" v="748" actId="108"/>
          <ac:spMkLst>
            <pc:docMk/>
            <pc:sldMk cId="2059851483" sldId="273"/>
            <ac:spMk id="28" creationId="{CE3A18F3-DF7B-4EB0-AFE5-C31A19EF096E}"/>
          </ac:spMkLst>
        </pc:spChg>
        <pc:spChg chg="add mod topLvl">
          <ac:chgData name="Amandeep Singh" userId="192f9da3-bd5c-42c3-8f41-80b8549e6782" providerId="ADAL" clId="{F830C17E-9D64-4BEF-A194-2F47D1141FB7}" dt="2021-06-10T23:04:49.252" v="746" actId="108"/>
          <ac:spMkLst>
            <pc:docMk/>
            <pc:sldMk cId="2059851483" sldId="273"/>
            <ac:spMk id="29" creationId="{F99318A4-F597-470A-B9EA-A30D9D4FDB0F}"/>
          </ac:spMkLst>
        </pc:spChg>
        <pc:spChg chg="add mod topLvl">
          <ac:chgData name="Amandeep Singh" userId="192f9da3-bd5c-42c3-8f41-80b8549e6782" providerId="ADAL" clId="{F830C17E-9D64-4BEF-A194-2F47D1141FB7}" dt="2021-06-10T23:04:51.572" v="747" actId="108"/>
          <ac:spMkLst>
            <pc:docMk/>
            <pc:sldMk cId="2059851483" sldId="273"/>
            <ac:spMk id="30" creationId="{65428AAF-ACF1-4801-91EB-B6C0634CCE7A}"/>
          </ac:spMkLst>
        </pc:spChg>
        <pc:spChg chg="add mod topLvl">
          <ac:chgData name="Amandeep Singh" userId="192f9da3-bd5c-42c3-8f41-80b8549e6782" providerId="ADAL" clId="{F830C17E-9D64-4BEF-A194-2F47D1141FB7}" dt="2021-06-10T23:04:45.759" v="745" actId="108"/>
          <ac:spMkLst>
            <pc:docMk/>
            <pc:sldMk cId="2059851483" sldId="273"/>
            <ac:spMk id="31" creationId="{0CD43ED8-B9CD-464C-B37A-0B1689114C16}"/>
          </ac:spMkLst>
        </pc:spChg>
        <pc:spChg chg="add mod topLvl">
          <ac:chgData name="Amandeep Singh" userId="192f9da3-bd5c-42c3-8f41-80b8549e6782" providerId="ADAL" clId="{F830C17E-9D64-4BEF-A194-2F47D1141FB7}" dt="2021-06-10T23:02:23.336" v="728" actId="1076"/>
          <ac:spMkLst>
            <pc:docMk/>
            <pc:sldMk cId="2059851483" sldId="273"/>
            <ac:spMk id="32" creationId="{823F37ED-6F94-40F4-AA41-B63D40516D5D}"/>
          </ac:spMkLst>
        </pc:spChg>
        <pc:spChg chg="add mod topLvl">
          <ac:chgData name="Amandeep Singh" userId="192f9da3-bd5c-42c3-8f41-80b8549e6782" providerId="ADAL" clId="{F830C17E-9D64-4BEF-A194-2F47D1141FB7}" dt="2021-06-10T23:04:41.720" v="743" actId="108"/>
          <ac:spMkLst>
            <pc:docMk/>
            <pc:sldMk cId="2059851483" sldId="273"/>
            <ac:spMk id="33" creationId="{680E7AB9-D823-4583-B727-A9E5C6CCB554}"/>
          </ac:spMkLst>
        </pc:spChg>
        <pc:spChg chg="add mod topLvl">
          <ac:chgData name="Amandeep Singh" userId="192f9da3-bd5c-42c3-8f41-80b8549e6782" providerId="ADAL" clId="{F830C17E-9D64-4BEF-A194-2F47D1141FB7}" dt="2021-06-10T23:04:43.861" v="744" actId="108"/>
          <ac:spMkLst>
            <pc:docMk/>
            <pc:sldMk cId="2059851483" sldId="273"/>
            <ac:spMk id="34" creationId="{C0CAF2DD-617F-4456-A48A-AD9855FE033E}"/>
          </ac:spMkLst>
        </pc:spChg>
        <pc:spChg chg="add mod topLvl">
          <ac:chgData name="Amandeep Singh" userId="192f9da3-bd5c-42c3-8f41-80b8549e6782" providerId="ADAL" clId="{F830C17E-9D64-4BEF-A194-2F47D1141FB7}" dt="2021-06-10T23:04:39.556" v="742" actId="108"/>
          <ac:spMkLst>
            <pc:docMk/>
            <pc:sldMk cId="2059851483" sldId="273"/>
            <ac:spMk id="35" creationId="{758AF871-2702-46A9-A281-EBFE2410E72C}"/>
          </ac:spMkLst>
        </pc:spChg>
        <pc:spChg chg="add mod topLvl">
          <ac:chgData name="Amandeep Singh" userId="192f9da3-bd5c-42c3-8f41-80b8549e6782" providerId="ADAL" clId="{F830C17E-9D64-4BEF-A194-2F47D1141FB7}" dt="2021-06-10T23:17:07.820" v="807" actId="108"/>
          <ac:spMkLst>
            <pc:docMk/>
            <pc:sldMk cId="2059851483" sldId="273"/>
            <ac:spMk id="36" creationId="{041E34F6-FB07-4E34-81D9-95428235D7D9}"/>
          </ac:spMkLst>
        </pc:spChg>
        <pc:spChg chg="add mod topLvl">
          <ac:chgData name="Amandeep Singh" userId="192f9da3-bd5c-42c3-8f41-80b8549e6782" providerId="ADAL" clId="{F830C17E-9D64-4BEF-A194-2F47D1141FB7}" dt="2021-06-10T23:04:34.594" v="741" actId="207"/>
          <ac:spMkLst>
            <pc:docMk/>
            <pc:sldMk cId="2059851483" sldId="273"/>
            <ac:spMk id="37" creationId="{25E16CCE-0C5C-4E2A-B675-EA3A89818764}"/>
          </ac:spMkLst>
        </pc:spChg>
        <pc:spChg chg="mod">
          <ac:chgData name="Amandeep Singh" userId="192f9da3-bd5c-42c3-8f41-80b8549e6782" providerId="ADAL" clId="{F830C17E-9D64-4BEF-A194-2F47D1141FB7}" dt="2021-06-16T19:33:02.763" v="1190" actId="108"/>
          <ac:spMkLst>
            <pc:docMk/>
            <pc:sldMk cId="2059851483" sldId="273"/>
            <ac:spMk id="38" creationId="{F717BF18-0353-498D-AC0B-3970B28361AA}"/>
          </ac:spMkLst>
        </pc:spChg>
        <pc:spChg chg="mod">
          <ac:chgData name="Amandeep Singh" userId="192f9da3-bd5c-42c3-8f41-80b8549e6782" providerId="ADAL" clId="{F830C17E-9D64-4BEF-A194-2F47D1141FB7}" dt="2021-06-16T19:32:56.386" v="1189" actId="108"/>
          <ac:spMkLst>
            <pc:docMk/>
            <pc:sldMk cId="2059851483" sldId="273"/>
            <ac:spMk id="39" creationId="{7F809003-47E1-4738-AA75-E785D4D7B471}"/>
          </ac:spMkLst>
        </pc:spChg>
        <pc:spChg chg="mod">
          <ac:chgData name="Amandeep Singh" userId="192f9da3-bd5c-42c3-8f41-80b8549e6782" providerId="ADAL" clId="{F830C17E-9D64-4BEF-A194-2F47D1141FB7}" dt="2021-06-16T19:32:52.648" v="1187" actId="108"/>
          <ac:spMkLst>
            <pc:docMk/>
            <pc:sldMk cId="2059851483" sldId="273"/>
            <ac:spMk id="40" creationId="{FCAD53C5-2E46-4F77-86DD-5CD40B504086}"/>
          </ac:spMkLst>
        </pc:spChg>
        <pc:spChg chg="mod">
          <ac:chgData name="Amandeep Singh" userId="192f9da3-bd5c-42c3-8f41-80b8549e6782" providerId="ADAL" clId="{F830C17E-9D64-4BEF-A194-2F47D1141FB7}" dt="2021-06-16T19:32:54.456" v="1188" actId="108"/>
          <ac:spMkLst>
            <pc:docMk/>
            <pc:sldMk cId="2059851483" sldId="273"/>
            <ac:spMk id="41" creationId="{A860F06F-34A5-4B2D-93D8-3DE5355A4347}"/>
          </ac:spMkLst>
        </pc:spChg>
        <pc:spChg chg="mod">
          <ac:chgData name="Amandeep Singh" userId="192f9da3-bd5c-42c3-8f41-80b8549e6782" providerId="ADAL" clId="{F830C17E-9D64-4BEF-A194-2F47D1141FB7}" dt="2021-06-16T19:33:05.989" v="1191" actId="6549"/>
          <ac:spMkLst>
            <pc:docMk/>
            <pc:sldMk cId="2059851483" sldId="273"/>
            <ac:spMk id="42" creationId="{4656B06B-FB47-41D6-9A68-E60F1751E26B}"/>
          </ac:spMkLst>
        </pc:spChg>
        <pc:spChg chg="mod">
          <ac:chgData name="Amandeep Singh" userId="192f9da3-bd5c-42c3-8f41-80b8549e6782" providerId="ADAL" clId="{F830C17E-9D64-4BEF-A194-2F47D1141FB7}" dt="2021-06-16T19:19:41.596" v="1039"/>
          <ac:spMkLst>
            <pc:docMk/>
            <pc:sldMk cId="2059851483" sldId="273"/>
            <ac:spMk id="43" creationId="{E4416B6A-55A9-4D16-9A70-B7A104CD9AFF}"/>
          </ac:spMkLst>
        </pc:spChg>
        <pc:spChg chg="mod">
          <ac:chgData name="Amandeep Singh" userId="192f9da3-bd5c-42c3-8f41-80b8549e6782" providerId="ADAL" clId="{F830C17E-9D64-4BEF-A194-2F47D1141FB7}" dt="2021-06-16T19:32:45.048" v="1185" actId="6549"/>
          <ac:spMkLst>
            <pc:docMk/>
            <pc:sldMk cId="2059851483" sldId="273"/>
            <ac:spMk id="44" creationId="{F6953A33-756A-481A-B190-EA490BE1F9EF}"/>
          </ac:spMkLst>
        </pc:spChg>
        <pc:spChg chg="mod">
          <ac:chgData name="Amandeep Singh" userId="192f9da3-bd5c-42c3-8f41-80b8549e6782" providerId="ADAL" clId="{F830C17E-9D64-4BEF-A194-2F47D1141FB7}" dt="2021-06-16T19:32:37.765" v="1183" actId="6549"/>
          <ac:spMkLst>
            <pc:docMk/>
            <pc:sldMk cId="2059851483" sldId="273"/>
            <ac:spMk id="45" creationId="{6BF34F75-96F7-44AA-AC10-F87C663CB026}"/>
          </ac:spMkLst>
        </pc:spChg>
        <pc:spChg chg="mod">
          <ac:chgData name="Amandeep Singh" userId="192f9da3-bd5c-42c3-8f41-80b8549e6782" providerId="ADAL" clId="{F830C17E-9D64-4BEF-A194-2F47D1141FB7}" dt="2021-06-16T19:32:27.417" v="1181" actId="6549"/>
          <ac:spMkLst>
            <pc:docMk/>
            <pc:sldMk cId="2059851483" sldId="273"/>
            <ac:spMk id="46" creationId="{B8C0D9AF-080A-4930-A4F2-8E33DDB54E2B}"/>
          </ac:spMkLst>
        </pc:spChg>
        <pc:spChg chg="mod">
          <ac:chgData name="Amandeep Singh" userId="192f9da3-bd5c-42c3-8f41-80b8549e6782" providerId="ADAL" clId="{F830C17E-9D64-4BEF-A194-2F47D1141FB7}" dt="2021-06-16T19:33:33.549" v="1196" actId="108"/>
          <ac:spMkLst>
            <pc:docMk/>
            <pc:sldMk cId="2059851483" sldId="273"/>
            <ac:spMk id="47" creationId="{A06989A1-4F1B-4956-AF4E-F425A4EC9C43}"/>
          </ac:spMkLst>
        </pc:spChg>
        <pc:spChg chg="mod">
          <ac:chgData name="Amandeep Singh" userId="192f9da3-bd5c-42c3-8f41-80b8549e6782" providerId="ADAL" clId="{F830C17E-9D64-4BEF-A194-2F47D1141FB7}" dt="2021-06-16T19:31:32.984" v="1176" actId="108"/>
          <ac:spMkLst>
            <pc:docMk/>
            <pc:sldMk cId="2059851483" sldId="273"/>
            <ac:spMk id="48" creationId="{9F3BAF92-C19D-4495-987C-ECB3C261B03B}"/>
          </ac:spMkLst>
        </pc:spChg>
        <pc:spChg chg="mod">
          <ac:chgData name="Amandeep Singh" userId="192f9da3-bd5c-42c3-8f41-80b8549e6782" providerId="ADAL" clId="{F830C17E-9D64-4BEF-A194-2F47D1141FB7}" dt="2021-06-16T19:33:28.357" v="1194" actId="108"/>
          <ac:spMkLst>
            <pc:docMk/>
            <pc:sldMk cId="2059851483" sldId="273"/>
            <ac:spMk id="49" creationId="{0AD97D76-9943-479B-A283-7F814524FAE4}"/>
          </ac:spMkLst>
        </pc:spChg>
        <pc:grpChg chg="add del mod">
          <ac:chgData name="Amandeep Singh" userId="192f9da3-bd5c-42c3-8f41-80b8549e6782" providerId="ADAL" clId="{F830C17E-9D64-4BEF-A194-2F47D1141FB7}" dt="2021-06-10T23:02:07.589" v="724" actId="165"/>
          <ac:grpSpMkLst>
            <pc:docMk/>
            <pc:sldMk cId="2059851483" sldId="273"/>
            <ac:grpSpMk id="2" creationId="{F4840056-356B-4CB8-B70B-D4315C804E30}"/>
          </ac:grpSpMkLst>
        </pc:grpChg>
        <pc:grpChg chg="add del mod">
          <ac:chgData name="Amandeep Singh" userId="192f9da3-bd5c-42c3-8f41-80b8549e6782" providerId="ADAL" clId="{F830C17E-9D64-4BEF-A194-2F47D1141FB7}" dt="2021-06-16T19:19:46.838" v="1040" actId="478"/>
          <ac:grpSpMkLst>
            <pc:docMk/>
            <pc:sldMk cId="2059851483" sldId="273"/>
            <ac:grpSpMk id="3" creationId="{868C2047-1417-453A-979C-32E8FEC3E7C2}"/>
          </ac:grpSpMkLst>
        </pc:grpChg>
        <pc:grpChg chg="add del mod">
          <ac:chgData name="Amandeep Singh" userId="192f9da3-bd5c-42c3-8f41-80b8549e6782" providerId="ADAL" clId="{F830C17E-9D64-4BEF-A194-2F47D1141FB7}" dt="2021-06-10T23:01:25.402" v="718" actId="478"/>
          <ac:grpSpMkLst>
            <pc:docMk/>
            <pc:sldMk cId="2059851483" sldId="273"/>
            <ac:grpSpMk id="14" creationId="{EC64F3F2-0A38-472C-BAC4-BCD6CCD68EF2}"/>
          </ac:grpSpMkLst>
        </pc:grpChg>
        <pc:grpChg chg="add mod">
          <ac:chgData name="Amandeep Singh" userId="192f9da3-bd5c-42c3-8f41-80b8549e6782" providerId="ADAL" clId="{F830C17E-9D64-4BEF-A194-2F47D1141FB7}" dt="2021-06-16T19:22:11.195" v="1065" actId="108"/>
          <ac:grpSpMkLst>
            <pc:docMk/>
            <pc:sldMk cId="2059851483" sldId="273"/>
            <ac:grpSpMk id="20" creationId="{3051A7A1-71C7-4F4D-9F67-F4D0737B2AEA}"/>
          </ac:grpSpMkLst>
        </pc:grpChg>
        <pc:graphicFrameChg chg="add del">
          <ac:chgData name="Amandeep Singh" userId="192f9da3-bd5c-42c3-8f41-80b8549e6782" providerId="ADAL" clId="{F830C17E-9D64-4BEF-A194-2F47D1141FB7}" dt="2021-06-07T22:57:28.041" v="294" actId="478"/>
          <ac:graphicFrameMkLst>
            <pc:docMk/>
            <pc:sldMk cId="2059851483" sldId="273"/>
            <ac:graphicFrameMk id="7" creationId="{75D4E73D-25C7-47E7-B244-BBDADD868DFE}"/>
          </ac:graphicFrameMkLst>
        </pc:graphicFrameChg>
        <pc:graphicFrameChg chg="add mod modGraphic">
          <ac:chgData name="Amandeep Singh" userId="192f9da3-bd5c-42c3-8f41-80b8549e6782" providerId="ADAL" clId="{F830C17E-9D64-4BEF-A194-2F47D1141FB7}" dt="2021-06-16T19:22:28.281" v="1076" actId="1076"/>
          <ac:graphicFrameMkLst>
            <pc:docMk/>
            <pc:sldMk cId="2059851483" sldId="273"/>
            <ac:graphicFrameMk id="13" creationId="{FC7DAB13-EBB2-4A09-B9D1-5CE62067E5C1}"/>
          </ac:graphicFrameMkLst>
        </pc:graphicFrameChg>
        <pc:picChg chg="add del mod">
          <ac:chgData name="Amandeep Singh" userId="192f9da3-bd5c-42c3-8f41-80b8549e6782" providerId="ADAL" clId="{F830C17E-9D64-4BEF-A194-2F47D1141FB7}" dt="2021-06-07T23:00:10.793" v="349" actId="478"/>
          <ac:picMkLst>
            <pc:docMk/>
            <pc:sldMk cId="2059851483" sldId="273"/>
            <ac:picMk id="11" creationId="{AB3B7396-835D-4139-95BE-2EEC2E73DF67}"/>
          </ac:picMkLst>
        </pc:picChg>
        <pc:inkChg chg="mod">
          <ac:chgData name="Amandeep Singh" userId="192f9da3-bd5c-42c3-8f41-80b8549e6782" providerId="ADAL" clId="{F830C17E-9D64-4BEF-A194-2F47D1141FB7}" dt="2021-06-16T19:19:41.596" v="1039"/>
          <ac:inkMkLst>
            <pc:docMk/>
            <pc:sldMk cId="2059851483" sldId="273"/>
            <ac:inkMk id="21" creationId="{5CB040A2-FE24-4B84-865A-EEE7D93F2B8C}"/>
          </ac:inkMkLst>
        </pc:inkChg>
        <pc:inkChg chg="add mod topLvl">
          <ac:chgData name="Amandeep Singh" userId="192f9da3-bd5c-42c3-8f41-80b8549e6782" providerId="ADAL" clId="{F830C17E-9D64-4BEF-A194-2F47D1141FB7}" dt="2021-06-10T23:02:10.687" v="725" actId="1076"/>
          <ac:inkMkLst>
            <pc:docMk/>
            <pc:sldMk cId="2059851483" sldId="273"/>
            <ac:inkMk id="24" creationId="{BE724532-75D3-4F3D-A11F-29CC345CE212}"/>
          </ac:inkMkLst>
        </pc:inkChg>
      </pc:sldChg>
      <pc:sldChg chg="addSp delSp modSp new mod">
        <pc:chgData name="Amandeep Singh" userId="192f9da3-bd5c-42c3-8f41-80b8549e6782" providerId="ADAL" clId="{F830C17E-9D64-4BEF-A194-2F47D1141FB7}" dt="2021-06-16T19:43:46.998" v="1284" actId="1076"/>
        <pc:sldMkLst>
          <pc:docMk/>
          <pc:sldMk cId="4136490571" sldId="274"/>
        </pc:sldMkLst>
        <pc:spChg chg="del">
          <ac:chgData name="Amandeep Singh" userId="192f9da3-bd5c-42c3-8f41-80b8549e6782" providerId="ADAL" clId="{F830C17E-9D64-4BEF-A194-2F47D1141FB7}" dt="2021-06-07T23:54:17.565" v="518" actId="478"/>
          <ac:spMkLst>
            <pc:docMk/>
            <pc:sldMk cId="4136490571" sldId="274"/>
            <ac:spMk id="2" creationId="{ED4F1872-A6F6-46A3-8BA5-A38BCB61F09B}"/>
          </ac:spMkLst>
        </pc:spChg>
        <pc:spChg chg="del">
          <ac:chgData name="Amandeep Singh" userId="192f9da3-bd5c-42c3-8f41-80b8549e6782" providerId="ADAL" clId="{F830C17E-9D64-4BEF-A194-2F47D1141FB7}" dt="2021-06-07T23:54:22.049" v="519" actId="478"/>
          <ac:spMkLst>
            <pc:docMk/>
            <pc:sldMk cId="4136490571" sldId="274"/>
            <ac:spMk id="3" creationId="{C4ADC2C3-DB28-44F0-9B84-6F3CD701F14A}"/>
          </ac:spMkLst>
        </pc:spChg>
        <pc:spChg chg="add del mod">
          <ac:chgData name="Amandeep Singh" userId="192f9da3-bd5c-42c3-8f41-80b8549e6782" providerId="ADAL" clId="{F830C17E-9D64-4BEF-A194-2F47D1141FB7}" dt="2021-06-07T23:54:40.812" v="523" actId="478"/>
          <ac:spMkLst>
            <pc:docMk/>
            <pc:sldMk cId="4136490571" sldId="274"/>
            <ac:spMk id="5" creationId="{9789B874-D9EF-4961-A762-F86329B9CD72}"/>
          </ac:spMkLst>
        </pc:spChg>
        <pc:spChg chg="add mod">
          <ac:chgData name="Amandeep Singh" userId="192f9da3-bd5c-42c3-8f41-80b8549e6782" providerId="ADAL" clId="{F830C17E-9D64-4BEF-A194-2F47D1141FB7}" dt="2021-06-16T19:17:47.825" v="1034"/>
          <ac:spMkLst>
            <pc:docMk/>
            <pc:sldMk cId="4136490571" sldId="274"/>
            <ac:spMk id="7" creationId="{820950D6-D43E-47B6-B55D-D71C690E7FB5}"/>
          </ac:spMkLst>
        </pc:spChg>
        <pc:spChg chg="mod">
          <ac:chgData name="Amandeep Singh" userId="192f9da3-bd5c-42c3-8f41-80b8549e6782" providerId="ADAL" clId="{F830C17E-9D64-4BEF-A194-2F47D1141FB7}" dt="2021-06-07T23:54:57.153" v="525"/>
          <ac:spMkLst>
            <pc:docMk/>
            <pc:sldMk cId="4136490571" sldId="274"/>
            <ac:spMk id="10" creationId="{315CEC8A-659A-4A06-A078-E65F5138A59A}"/>
          </ac:spMkLst>
        </pc:spChg>
        <pc:spChg chg="mod">
          <ac:chgData name="Amandeep Singh" userId="192f9da3-bd5c-42c3-8f41-80b8549e6782" providerId="ADAL" clId="{F830C17E-9D64-4BEF-A194-2F47D1141FB7}" dt="2021-06-07T23:54:57.153" v="525"/>
          <ac:spMkLst>
            <pc:docMk/>
            <pc:sldMk cId="4136490571" sldId="274"/>
            <ac:spMk id="11" creationId="{99C209B3-2AFC-4D29-B209-3975784F9525}"/>
          </ac:spMkLst>
        </pc:spChg>
        <pc:spChg chg="mod">
          <ac:chgData name="Amandeep Singh" userId="192f9da3-bd5c-42c3-8f41-80b8549e6782" providerId="ADAL" clId="{F830C17E-9D64-4BEF-A194-2F47D1141FB7}" dt="2021-06-07T23:54:57.153" v="525"/>
          <ac:spMkLst>
            <pc:docMk/>
            <pc:sldMk cId="4136490571" sldId="274"/>
            <ac:spMk id="12" creationId="{A600B56B-C098-4FDF-9006-7A8347AAB87F}"/>
          </ac:spMkLst>
        </pc:spChg>
        <pc:spChg chg="mod">
          <ac:chgData name="Amandeep Singh" userId="192f9da3-bd5c-42c3-8f41-80b8549e6782" providerId="ADAL" clId="{F830C17E-9D64-4BEF-A194-2F47D1141FB7}" dt="2021-06-07T23:54:57.153" v="525"/>
          <ac:spMkLst>
            <pc:docMk/>
            <pc:sldMk cId="4136490571" sldId="274"/>
            <ac:spMk id="13" creationId="{FD788AD3-A5B0-4A39-95FA-DEBAB7B46A7F}"/>
          </ac:spMkLst>
        </pc:spChg>
        <pc:spChg chg="mod">
          <ac:chgData name="Amandeep Singh" userId="192f9da3-bd5c-42c3-8f41-80b8549e6782" providerId="ADAL" clId="{F830C17E-9D64-4BEF-A194-2F47D1141FB7}" dt="2021-06-07T23:54:57.153" v="525"/>
          <ac:spMkLst>
            <pc:docMk/>
            <pc:sldMk cId="4136490571" sldId="274"/>
            <ac:spMk id="14" creationId="{E3DD7C5A-7DC4-4B9A-B0DD-8256EFD69006}"/>
          </ac:spMkLst>
        </pc:spChg>
        <pc:spChg chg="mod">
          <ac:chgData name="Amandeep Singh" userId="192f9da3-bd5c-42c3-8f41-80b8549e6782" providerId="ADAL" clId="{F830C17E-9D64-4BEF-A194-2F47D1141FB7}" dt="2021-06-07T23:55:21.980" v="529" actId="108"/>
          <ac:spMkLst>
            <pc:docMk/>
            <pc:sldMk cId="4136490571" sldId="274"/>
            <ac:spMk id="15" creationId="{0AC0A299-3C8B-472E-B928-1C04386992F6}"/>
          </ac:spMkLst>
        </pc:spChg>
        <pc:spChg chg="mod">
          <ac:chgData name="Amandeep Singh" userId="192f9da3-bd5c-42c3-8f41-80b8549e6782" providerId="ADAL" clId="{F830C17E-9D64-4BEF-A194-2F47D1141FB7}" dt="2021-06-07T23:57:27.400" v="543" actId="14100"/>
          <ac:spMkLst>
            <pc:docMk/>
            <pc:sldMk cId="4136490571" sldId="274"/>
            <ac:spMk id="16" creationId="{BBEF4F08-237E-4B77-90EF-B75E152049E4}"/>
          </ac:spMkLst>
        </pc:spChg>
        <pc:spChg chg="mod">
          <ac:chgData name="Amandeep Singh" userId="192f9da3-bd5c-42c3-8f41-80b8549e6782" providerId="ADAL" clId="{F830C17E-9D64-4BEF-A194-2F47D1141FB7}" dt="2021-06-07T23:54:57.153" v="525"/>
          <ac:spMkLst>
            <pc:docMk/>
            <pc:sldMk cId="4136490571" sldId="274"/>
            <ac:spMk id="17" creationId="{4077621B-92F2-4839-AFCD-FF447062DA06}"/>
          </ac:spMkLst>
        </pc:spChg>
        <pc:spChg chg="mod">
          <ac:chgData name="Amandeep Singh" userId="192f9da3-bd5c-42c3-8f41-80b8549e6782" providerId="ADAL" clId="{F830C17E-9D64-4BEF-A194-2F47D1141FB7}" dt="2021-06-07T23:54:57.153" v="525"/>
          <ac:spMkLst>
            <pc:docMk/>
            <pc:sldMk cId="4136490571" sldId="274"/>
            <ac:spMk id="18" creationId="{E61033FB-23A5-41A8-BF7E-0023549F018D}"/>
          </ac:spMkLst>
        </pc:spChg>
        <pc:spChg chg="mod">
          <ac:chgData name="Amandeep Singh" userId="192f9da3-bd5c-42c3-8f41-80b8549e6782" providerId="ADAL" clId="{F830C17E-9D64-4BEF-A194-2F47D1141FB7}" dt="2021-06-07T23:54:57.153" v="525"/>
          <ac:spMkLst>
            <pc:docMk/>
            <pc:sldMk cId="4136490571" sldId="274"/>
            <ac:spMk id="19" creationId="{3C3861FE-0E47-4CA3-B3E5-AD59DAE5B847}"/>
          </ac:spMkLst>
        </pc:spChg>
        <pc:spChg chg="mod">
          <ac:chgData name="Amandeep Singh" userId="192f9da3-bd5c-42c3-8f41-80b8549e6782" providerId="ADAL" clId="{F830C17E-9D64-4BEF-A194-2F47D1141FB7}" dt="2021-06-07T23:54:57.153" v="525"/>
          <ac:spMkLst>
            <pc:docMk/>
            <pc:sldMk cId="4136490571" sldId="274"/>
            <ac:spMk id="20" creationId="{19889DDE-4DE2-4DA3-AAE5-11C86D471842}"/>
          </ac:spMkLst>
        </pc:spChg>
        <pc:spChg chg="add mod">
          <ac:chgData name="Amandeep Singh" userId="192f9da3-bd5c-42c3-8f41-80b8549e6782" providerId="ADAL" clId="{F830C17E-9D64-4BEF-A194-2F47D1141FB7}" dt="2021-06-16T19:43:42.245" v="1283" actId="1076"/>
          <ac:spMkLst>
            <pc:docMk/>
            <pc:sldMk cId="4136490571" sldId="274"/>
            <ac:spMk id="22" creationId="{0962B694-87F7-4581-BAB5-1B9542FBA284}"/>
          </ac:spMkLst>
        </pc:spChg>
        <pc:spChg chg="mod">
          <ac:chgData name="Amandeep Singh" userId="192f9da3-bd5c-42c3-8f41-80b8549e6782" providerId="ADAL" clId="{F830C17E-9D64-4BEF-A194-2F47D1141FB7}" dt="2021-06-10T23:19:09.585" v="825"/>
          <ac:spMkLst>
            <pc:docMk/>
            <pc:sldMk cId="4136490571" sldId="274"/>
            <ac:spMk id="25" creationId="{733587F7-0B98-4E75-89A9-42CF7B629568}"/>
          </ac:spMkLst>
        </pc:spChg>
        <pc:spChg chg="mod">
          <ac:chgData name="Amandeep Singh" userId="192f9da3-bd5c-42c3-8f41-80b8549e6782" providerId="ADAL" clId="{F830C17E-9D64-4BEF-A194-2F47D1141FB7}" dt="2021-06-10T23:19:09.585" v="825"/>
          <ac:spMkLst>
            <pc:docMk/>
            <pc:sldMk cId="4136490571" sldId="274"/>
            <ac:spMk id="26" creationId="{E16F193A-3045-40A5-A474-04882B814D06}"/>
          </ac:spMkLst>
        </pc:spChg>
        <pc:spChg chg="mod">
          <ac:chgData name="Amandeep Singh" userId="192f9da3-bd5c-42c3-8f41-80b8549e6782" providerId="ADAL" clId="{F830C17E-9D64-4BEF-A194-2F47D1141FB7}" dt="2021-06-10T23:19:09.585" v="825"/>
          <ac:spMkLst>
            <pc:docMk/>
            <pc:sldMk cId="4136490571" sldId="274"/>
            <ac:spMk id="27" creationId="{E783F2D3-7790-4B49-A361-6C3E60C815BB}"/>
          </ac:spMkLst>
        </pc:spChg>
        <pc:spChg chg="mod">
          <ac:chgData name="Amandeep Singh" userId="192f9da3-bd5c-42c3-8f41-80b8549e6782" providerId="ADAL" clId="{F830C17E-9D64-4BEF-A194-2F47D1141FB7}" dt="2021-06-10T23:19:09.585" v="825"/>
          <ac:spMkLst>
            <pc:docMk/>
            <pc:sldMk cId="4136490571" sldId="274"/>
            <ac:spMk id="28" creationId="{23099E42-451C-4D38-81ED-1122415BFE13}"/>
          </ac:spMkLst>
        </pc:spChg>
        <pc:spChg chg="mod">
          <ac:chgData name="Amandeep Singh" userId="192f9da3-bd5c-42c3-8f41-80b8549e6782" providerId="ADAL" clId="{F830C17E-9D64-4BEF-A194-2F47D1141FB7}" dt="2021-06-10T23:19:30.896" v="830" actId="108"/>
          <ac:spMkLst>
            <pc:docMk/>
            <pc:sldMk cId="4136490571" sldId="274"/>
            <ac:spMk id="29" creationId="{1A54FB46-FD5F-47A3-82B2-F78E0AF04EC6}"/>
          </ac:spMkLst>
        </pc:spChg>
        <pc:spChg chg="mod">
          <ac:chgData name="Amandeep Singh" userId="192f9da3-bd5c-42c3-8f41-80b8549e6782" providerId="ADAL" clId="{F830C17E-9D64-4BEF-A194-2F47D1141FB7}" dt="2021-06-10T23:19:09.585" v="825"/>
          <ac:spMkLst>
            <pc:docMk/>
            <pc:sldMk cId="4136490571" sldId="274"/>
            <ac:spMk id="30" creationId="{77E88EB6-B5D3-4422-AD9F-ACD3B5B2EF7C}"/>
          </ac:spMkLst>
        </pc:spChg>
        <pc:spChg chg="mod">
          <ac:chgData name="Amandeep Singh" userId="192f9da3-bd5c-42c3-8f41-80b8549e6782" providerId="ADAL" clId="{F830C17E-9D64-4BEF-A194-2F47D1141FB7}" dt="2021-06-10T23:19:25.891" v="829" actId="108"/>
          <ac:spMkLst>
            <pc:docMk/>
            <pc:sldMk cId="4136490571" sldId="274"/>
            <ac:spMk id="31" creationId="{C9C319A0-4C4A-489B-9AC9-291864EB5CDA}"/>
          </ac:spMkLst>
        </pc:spChg>
        <pc:spChg chg="mod">
          <ac:chgData name="Amandeep Singh" userId="192f9da3-bd5c-42c3-8f41-80b8549e6782" providerId="ADAL" clId="{F830C17E-9D64-4BEF-A194-2F47D1141FB7}" dt="2021-06-10T23:19:09.585" v="825"/>
          <ac:spMkLst>
            <pc:docMk/>
            <pc:sldMk cId="4136490571" sldId="274"/>
            <ac:spMk id="32" creationId="{EA9AB0CD-A3F7-4238-9094-BACD2AF03B6A}"/>
          </ac:spMkLst>
        </pc:spChg>
        <pc:spChg chg="mod">
          <ac:chgData name="Amandeep Singh" userId="192f9da3-bd5c-42c3-8f41-80b8549e6782" providerId="ADAL" clId="{F830C17E-9D64-4BEF-A194-2F47D1141FB7}" dt="2021-06-10T23:19:22.700" v="828" actId="108"/>
          <ac:spMkLst>
            <pc:docMk/>
            <pc:sldMk cId="4136490571" sldId="274"/>
            <ac:spMk id="33" creationId="{E2098C0C-0EAA-456E-81AB-8778BA3D7BBD}"/>
          </ac:spMkLst>
        </pc:spChg>
        <pc:spChg chg="mod">
          <ac:chgData name="Amandeep Singh" userId="192f9da3-bd5c-42c3-8f41-80b8549e6782" providerId="ADAL" clId="{F830C17E-9D64-4BEF-A194-2F47D1141FB7}" dt="2021-06-10T23:19:09.585" v="825"/>
          <ac:spMkLst>
            <pc:docMk/>
            <pc:sldMk cId="4136490571" sldId="274"/>
            <ac:spMk id="34" creationId="{786CCEE2-EFBB-4BF2-AABD-E0E6A9BEE252}"/>
          </ac:spMkLst>
        </pc:spChg>
        <pc:spChg chg="mod">
          <ac:chgData name="Amandeep Singh" userId="192f9da3-bd5c-42c3-8f41-80b8549e6782" providerId="ADAL" clId="{F830C17E-9D64-4BEF-A194-2F47D1141FB7}" dt="2021-06-10T23:19:09.585" v="825"/>
          <ac:spMkLst>
            <pc:docMk/>
            <pc:sldMk cId="4136490571" sldId="274"/>
            <ac:spMk id="35" creationId="{84046804-2E03-4AF3-8928-9669A52A1C19}"/>
          </ac:spMkLst>
        </pc:spChg>
        <pc:spChg chg="mod">
          <ac:chgData name="Amandeep Singh" userId="192f9da3-bd5c-42c3-8f41-80b8549e6782" providerId="ADAL" clId="{F830C17E-9D64-4BEF-A194-2F47D1141FB7}" dt="2021-06-10T23:19:09.585" v="825"/>
          <ac:spMkLst>
            <pc:docMk/>
            <pc:sldMk cId="4136490571" sldId="274"/>
            <ac:spMk id="36" creationId="{66F66747-3E6A-43A7-B28C-5605A59BEC1B}"/>
          </ac:spMkLst>
        </pc:spChg>
        <pc:spChg chg="mod">
          <ac:chgData name="Amandeep Singh" userId="192f9da3-bd5c-42c3-8f41-80b8549e6782" providerId="ADAL" clId="{F830C17E-9D64-4BEF-A194-2F47D1141FB7}" dt="2021-06-10T23:19:09.585" v="825"/>
          <ac:spMkLst>
            <pc:docMk/>
            <pc:sldMk cId="4136490571" sldId="274"/>
            <ac:spMk id="37" creationId="{F4F6C090-5E6E-4E0B-892F-2174937CBB29}"/>
          </ac:spMkLst>
        </pc:spChg>
        <pc:spChg chg="mod">
          <ac:chgData name="Amandeep Singh" userId="192f9da3-bd5c-42c3-8f41-80b8549e6782" providerId="ADAL" clId="{F830C17E-9D64-4BEF-A194-2F47D1141FB7}" dt="2021-06-16T19:43:20.943" v="1277"/>
          <ac:spMkLst>
            <pc:docMk/>
            <pc:sldMk cId="4136490571" sldId="274"/>
            <ac:spMk id="39" creationId="{F59F4602-3559-44E1-8BCC-4C4236B463B0}"/>
          </ac:spMkLst>
        </pc:spChg>
        <pc:spChg chg="mod">
          <ac:chgData name="Amandeep Singh" userId="192f9da3-bd5c-42c3-8f41-80b8549e6782" providerId="ADAL" clId="{F830C17E-9D64-4BEF-A194-2F47D1141FB7}" dt="2021-06-16T19:43:20.943" v="1277"/>
          <ac:spMkLst>
            <pc:docMk/>
            <pc:sldMk cId="4136490571" sldId="274"/>
            <ac:spMk id="40" creationId="{85CD1B25-2FB4-4204-81BB-B5CD66E5C862}"/>
          </ac:spMkLst>
        </pc:spChg>
        <pc:spChg chg="mod">
          <ac:chgData name="Amandeep Singh" userId="192f9da3-bd5c-42c3-8f41-80b8549e6782" providerId="ADAL" clId="{F830C17E-9D64-4BEF-A194-2F47D1141FB7}" dt="2021-06-16T19:43:20.943" v="1277"/>
          <ac:spMkLst>
            <pc:docMk/>
            <pc:sldMk cId="4136490571" sldId="274"/>
            <ac:spMk id="41" creationId="{2B0C80BC-0BC3-424E-A5FC-810010DCB7D7}"/>
          </ac:spMkLst>
        </pc:spChg>
        <pc:spChg chg="mod">
          <ac:chgData name="Amandeep Singh" userId="192f9da3-bd5c-42c3-8f41-80b8549e6782" providerId="ADAL" clId="{F830C17E-9D64-4BEF-A194-2F47D1141FB7}" dt="2021-06-16T19:43:20.943" v="1277"/>
          <ac:spMkLst>
            <pc:docMk/>
            <pc:sldMk cId="4136490571" sldId="274"/>
            <ac:spMk id="42" creationId="{AE3C8ECD-5FF5-42E8-B425-6D8635E450F9}"/>
          </ac:spMkLst>
        </pc:spChg>
        <pc:spChg chg="mod">
          <ac:chgData name="Amandeep Singh" userId="192f9da3-bd5c-42c3-8f41-80b8549e6782" providerId="ADAL" clId="{F830C17E-9D64-4BEF-A194-2F47D1141FB7}" dt="2021-06-16T19:43:35.974" v="1281" actId="108"/>
          <ac:spMkLst>
            <pc:docMk/>
            <pc:sldMk cId="4136490571" sldId="274"/>
            <ac:spMk id="43" creationId="{498BF8AA-F0DB-4B5D-B824-D64B859655C7}"/>
          </ac:spMkLst>
        </pc:spChg>
        <pc:spChg chg="mod">
          <ac:chgData name="Amandeep Singh" userId="192f9da3-bd5c-42c3-8f41-80b8549e6782" providerId="ADAL" clId="{F830C17E-9D64-4BEF-A194-2F47D1141FB7}" dt="2021-06-16T19:43:20.943" v="1277"/>
          <ac:spMkLst>
            <pc:docMk/>
            <pc:sldMk cId="4136490571" sldId="274"/>
            <ac:spMk id="44" creationId="{0844EE09-D112-45DB-B32F-E31F72D99F0B}"/>
          </ac:spMkLst>
        </pc:spChg>
        <pc:spChg chg="mod">
          <ac:chgData name="Amandeep Singh" userId="192f9da3-bd5c-42c3-8f41-80b8549e6782" providerId="ADAL" clId="{F830C17E-9D64-4BEF-A194-2F47D1141FB7}" dt="2021-06-16T19:43:29.655" v="1280" actId="108"/>
          <ac:spMkLst>
            <pc:docMk/>
            <pc:sldMk cId="4136490571" sldId="274"/>
            <ac:spMk id="45" creationId="{799CA9CC-AA22-4C91-B3DB-66979EB880DD}"/>
          </ac:spMkLst>
        </pc:spChg>
        <pc:spChg chg="mod">
          <ac:chgData name="Amandeep Singh" userId="192f9da3-bd5c-42c3-8f41-80b8549e6782" providerId="ADAL" clId="{F830C17E-9D64-4BEF-A194-2F47D1141FB7}" dt="2021-06-16T19:43:20.943" v="1277"/>
          <ac:spMkLst>
            <pc:docMk/>
            <pc:sldMk cId="4136490571" sldId="274"/>
            <ac:spMk id="46" creationId="{254F8208-A41A-482D-9131-31DEC623B301}"/>
          </ac:spMkLst>
        </pc:spChg>
        <pc:spChg chg="mod">
          <ac:chgData name="Amandeep Singh" userId="192f9da3-bd5c-42c3-8f41-80b8549e6782" providerId="ADAL" clId="{F830C17E-9D64-4BEF-A194-2F47D1141FB7}" dt="2021-06-16T19:43:20.943" v="1277"/>
          <ac:spMkLst>
            <pc:docMk/>
            <pc:sldMk cId="4136490571" sldId="274"/>
            <ac:spMk id="47" creationId="{52DF34CC-C3E9-4D5B-AE23-D109AEEED80B}"/>
          </ac:spMkLst>
        </pc:spChg>
        <pc:spChg chg="mod">
          <ac:chgData name="Amandeep Singh" userId="192f9da3-bd5c-42c3-8f41-80b8549e6782" providerId="ADAL" clId="{F830C17E-9D64-4BEF-A194-2F47D1141FB7}" dt="2021-06-16T19:43:20.943" v="1277"/>
          <ac:spMkLst>
            <pc:docMk/>
            <pc:sldMk cId="4136490571" sldId="274"/>
            <ac:spMk id="48" creationId="{FCC69E12-38A7-402F-95F0-AF3E8D9C21D0}"/>
          </ac:spMkLst>
        </pc:spChg>
        <pc:spChg chg="mod">
          <ac:chgData name="Amandeep Singh" userId="192f9da3-bd5c-42c3-8f41-80b8549e6782" providerId="ADAL" clId="{F830C17E-9D64-4BEF-A194-2F47D1141FB7}" dt="2021-06-16T19:43:20.943" v="1277"/>
          <ac:spMkLst>
            <pc:docMk/>
            <pc:sldMk cId="4136490571" sldId="274"/>
            <ac:spMk id="49" creationId="{FAA3AEA0-B42B-42F5-8234-18504D23D455}"/>
          </ac:spMkLst>
        </pc:spChg>
        <pc:spChg chg="mod">
          <ac:chgData name="Amandeep Singh" userId="192f9da3-bd5c-42c3-8f41-80b8549e6782" providerId="ADAL" clId="{F830C17E-9D64-4BEF-A194-2F47D1141FB7}" dt="2021-06-16T19:43:26.574" v="1279" actId="108"/>
          <ac:spMkLst>
            <pc:docMk/>
            <pc:sldMk cId="4136490571" sldId="274"/>
            <ac:spMk id="50" creationId="{3E94C039-91BA-4180-B6CF-4CE3EA6301B4}"/>
          </ac:spMkLst>
        </pc:spChg>
        <pc:spChg chg="mod">
          <ac:chgData name="Amandeep Singh" userId="192f9da3-bd5c-42c3-8f41-80b8549e6782" providerId="ADAL" clId="{F830C17E-9D64-4BEF-A194-2F47D1141FB7}" dt="2021-06-16T19:43:20.943" v="1277"/>
          <ac:spMkLst>
            <pc:docMk/>
            <pc:sldMk cId="4136490571" sldId="274"/>
            <ac:spMk id="51" creationId="{1F9724F2-6404-4F61-A58F-736945C36776}"/>
          </ac:spMkLst>
        </pc:spChg>
        <pc:spChg chg="mod">
          <ac:chgData name="Amandeep Singh" userId="192f9da3-bd5c-42c3-8f41-80b8549e6782" providerId="ADAL" clId="{F830C17E-9D64-4BEF-A194-2F47D1141FB7}" dt="2021-06-16T19:43:20.943" v="1277"/>
          <ac:spMkLst>
            <pc:docMk/>
            <pc:sldMk cId="4136490571" sldId="274"/>
            <ac:spMk id="52" creationId="{FE9D8DD4-65D8-410E-9A66-F64505CEBFF0}"/>
          </ac:spMkLst>
        </pc:spChg>
        <pc:grpChg chg="add del mod">
          <ac:chgData name="Amandeep Singh" userId="192f9da3-bd5c-42c3-8f41-80b8549e6782" providerId="ADAL" clId="{F830C17E-9D64-4BEF-A194-2F47D1141FB7}" dt="2021-06-10T23:19:04.720" v="824" actId="478"/>
          <ac:grpSpMkLst>
            <pc:docMk/>
            <pc:sldMk cId="4136490571" sldId="274"/>
            <ac:grpSpMk id="8" creationId="{5DE52529-1750-4B54-A1AB-30CF16E493ED}"/>
          </ac:grpSpMkLst>
        </pc:grpChg>
        <pc:grpChg chg="add mod">
          <ac:chgData name="Amandeep Singh" userId="192f9da3-bd5c-42c3-8f41-80b8549e6782" providerId="ADAL" clId="{F830C17E-9D64-4BEF-A194-2F47D1141FB7}" dt="2021-06-16T19:43:20.943" v="1277"/>
          <ac:grpSpMkLst>
            <pc:docMk/>
            <pc:sldMk cId="4136490571" sldId="274"/>
            <ac:grpSpMk id="20" creationId="{AC60EC7C-C2E4-462C-B595-E7662FB1D72B}"/>
          </ac:grpSpMkLst>
        </pc:grpChg>
        <pc:grpChg chg="add del mod">
          <ac:chgData name="Amandeep Singh" userId="192f9da3-bd5c-42c3-8f41-80b8549e6782" providerId="ADAL" clId="{F830C17E-9D64-4BEF-A194-2F47D1141FB7}" dt="2021-06-16T19:43:16.036" v="1276" actId="478"/>
          <ac:grpSpMkLst>
            <pc:docMk/>
            <pc:sldMk cId="4136490571" sldId="274"/>
            <ac:grpSpMk id="21" creationId="{467EDFB1-DDEC-44CD-B204-C667B00FB847}"/>
          </ac:grpSpMkLst>
        </pc:grpChg>
        <pc:graphicFrameChg chg="add mod modGraphic">
          <ac:chgData name="Amandeep Singh" userId="192f9da3-bd5c-42c3-8f41-80b8549e6782" providerId="ADAL" clId="{F830C17E-9D64-4BEF-A194-2F47D1141FB7}" dt="2021-06-16T19:43:46.998" v="1284" actId="1076"/>
          <ac:graphicFrameMkLst>
            <pc:docMk/>
            <pc:sldMk cId="4136490571" sldId="274"/>
            <ac:graphicFrameMk id="24" creationId="{7362F73C-AB11-4FAC-BC54-EB7D7F84848E}"/>
          </ac:graphicFrameMkLst>
        </pc:graphicFrameChg>
        <pc:inkChg chg="mod">
          <ac:chgData name="Amandeep Singh" userId="192f9da3-bd5c-42c3-8f41-80b8549e6782" providerId="ADAL" clId="{F830C17E-9D64-4BEF-A194-2F47D1141FB7}" dt="2021-06-07T23:54:57.153" v="525"/>
          <ac:inkMkLst>
            <pc:docMk/>
            <pc:sldMk cId="4136490571" sldId="274"/>
            <ac:inkMk id="9" creationId="{BE81E486-9995-4747-8071-A225A81BD761}"/>
          </ac:inkMkLst>
        </pc:inkChg>
        <pc:inkChg chg="mod">
          <ac:chgData name="Amandeep Singh" userId="192f9da3-bd5c-42c3-8f41-80b8549e6782" providerId="ADAL" clId="{F830C17E-9D64-4BEF-A194-2F47D1141FB7}" dt="2021-06-10T23:19:09.585" v="825"/>
          <ac:inkMkLst>
            <pc:docMk/>
            <pc:sldMk cId="4136490571" sldId="274"/>
            <ac:inkMk id="23" creationId="{7A6456CE-74E6-44E3-B9F9-0B2F4944676A}"/>
          </ac:inkMkLst>
        </pc:inkChg>
        <pc:inkChg chg="mod">
          <ac:chgData name="Amandeep Singh" userId="192f9da3-bd5c-42c3-8f41-80b8549e6782" providerId="ADAL" clId="{F830C17E-9D64-4BEF-A194-2F47D1141FB7}" dt="2021-06-16T19:43:20.943" v="1277"/>
          <ac:inkMkLst>
            <pc:docMk/>
            <pc:sldMk cId="4136490571" sldId="274"/>
            <ac:inkMk id="38" creationId="{B74D9054-E664-4C1B-804F-1E7D04093CED}"/>
          </ac:inkMkLst>
        </pc:inkChg>
      </pc:sldChg>
      <pc:sldChg chg="addSp delSp modSp new mod">
        <pc:chgData name="Amandeep Singh" userId="192f9da3-bd5c-42c3-8f41-80b8549e6782" providerId="ADAL" clId="{F830C17E-9D64-4BEF-A194-2F47D1141FB7}" dt="2021-06-16T19:44:46.589" v="1297" actId="14100"/>
        <pc:sldMkLst>
          <pc:docMk/>
          <pc:sldMk cId="3225290215" sldId="275"/>
        </pc:sldMkLst>
        <pc:spChg chg="del">
          <ac:chgData name="Amandeep Singh" userId="192f9da3-bd5c-42c3-8f41-80b8549e6782" providerId="ADAL" clId="{F830C17E-9D64-4BEF-A194-2F47D1141FB7}" dt="2021-06-10T23:19:55.517" v="834" actId="478"/>
          <ac:spMkLst>
            <pc:docMk/>
            <pc:sldMk cId="3225290215" sldId="275"/>
            <ac:spMk id="2" creationId="{7826D098-F449-4136-9235-935EA239AA97}"/>
          </ac:spMkLst>
        </pc:spChg>
        <pc:spChg chg="del">
          <ac:chgData name="Amandeep Singh" userId="192f9da3-bd5c-42c3-8f41-80b8549e6782" providerId="ADAL" clId="{F830C17E-9D64-4BEF-A194-2F47D1141FB7}" dt="2021-06-10T23:19:58.043" v="835" actId="478"/>
          <ac:spMkLst>
            <pc:docMk/>
            <pc:sldMk cId="3225290215" sldId="275"/>
            <ac:spMk id="3" creationId="{52D4BA02-7A17-452D-BE4C-D0F6CA9CF5EF}"/>
          </ac:spMkLst>
        </pc:spChg>
        <pc:spChg chg="add mod">
          <ac:chgData name="Amandeep Singh" userId="192f9da3-bd5c-42c3-8f41-80b8549e6782" providerId="ADAL" clId="{F830C17E-9D64-4BEF-A194-2F47D1141FB7}" dt="2021-06-16T19:44:37.741" v="1295" actId="1076"/>
          <ac:spMkLst>
            <pc:docMk/>
            <pc:sldMk cId="3225290215" sldId="275"/>
            <ac:spMk id="4" creationId="{7D8BF15D-3C83-4FE0-850C-1ED137108BEC}"/>
          </ac:spMkLst>
        </pc:spChg>
        <pc:spChg chg="mod">
          <ac:chgData name="Amandeep Singh" userId="192f9da3-bd5c-42c3-8f41-80b8549e6782" providerId="ADAL" clId="{F830C17E-9D64-4BEF-A194-2F47D1141FB7}" dt="2021-06-10T23:20:04.953" v="836"/>
          <ac:spMkLst>
            <pc:docMk/>
            <pc:sldMk cId="3225290215" sldId="275"/>
            <ac:spMk id="8" creationId="{DAF9D29D-FA65-4724-9126-EE49FB01DAEC}"/>
          </ac:spMkLst>
        </pc:spChg>
        <pc:spChg chg="mod">
          <ac:chgData name="Amandeep Singh" userId="192f9da3-bd5c-42c3-8f41-80b8549e6782" providerId="ADAL" clId="{F830C17E-9D64-4BEF-A194-2F47D1141FB7}" dt="2021-06-10T23:20:04.953" v="836"/>
          <ac:spMkLst>
            <pc:docMk/>
            <pc:sldMk cId="3225290215" sldId="275"/>
            <ac:spMk id="9" creationId="{D87F1F38-ED8A-448B-9C25-F45FC71F40D2}"/>
          </ac:spMkLst>
        </pc:spChg>
        <pc:spChg chg="mod">
          <ac:chgData name="Amandeep Singh" userId="192f9da3-bd5c-42c3-8f41-80b8549e6782" providerId="ADAL" clId="{F830C17E-9D64-4BEF-A194-2F47D1141FB7}" dt="2021-06-10T23:20:04.953" v="836"/>
          <ac:spMkLst>
            <pc:docMk/>
            <pc:sldMk cId="3225290215" sldId="275"/>
            <ac:spMk id="10" creationId="{39E0FCA7-29A7-44DC-A1FF-40C4C5294BC5}"/>
          </ac:spMkLst>
        </pc:spChg>
        <pc:spChg chg="mod">
          <ac:chgData name="Amandeep Singh" userId="192f9da3-bd5c-42c3-8f41-80b8549e6782" providerId="ADAL" clId="{F830C17E-9D64-4BEF-A194-2F47D1141FB7}" dt="2021-06-10T23:20:04.953" v="836"/>
          <ac:spMkLst>
            <pc:docMk/>
            <pc:sldMk cId="3225290215" sldId="275"/>
            <ac:spMk id="11" creationId="{3D8D5C3B-73FD-4BCB-AB53-F3582777C960}"/>
          </ac:spMkLst>
        </pc:spChg>
        <pc:spChg chg="mod">
          <ac:chgData name="Amandeep Singh" userId="192f9da3-bd5c-42c3-8f41-80b8549e6782" providerId="ADAL" clId="{F830C17E-9D64-4BEF-A194-2F47D1141FB7}" dt="2021-06-10T23:20:04.953" v="836"/>
          <ac:spMkLst>
            <pc:docMk/>
            <pc:sldMk cId="3225290215" sldId="275"/>
            <ac:spMk id="12" creationId="{834338F3-6E02-4A19-82AC-52A67AA96DFB}"/>
          </ac:spMkLst>
        </pc:spChg>
        <pc:spChg chg="mod">
          <ac:chgData name="Amandeep Singh" userId="192f9da3-bd5c-42c3-8f41-80b8549e6782" providerId="ADAL" clId="{F830C17E-9D64-4BEF-A194-2F47D1141FB7}" dt="2021-06-10T23:20:04.953" v="836"/>
          <ac:spMkLst>
            <pc:docMk/>
            <pc:sldMk cId="3225290215" sldId="275"/>
            <ac:spMk id="13" creationId="{F3C0B0C2-FF3C-489B-9D0E-9BC819FBAC1F}"/>
          </ac:spMkLst>
        </pc:spChg>
        <pc:spChg chg="mod">
          <ac:chgData name="Amandeep Singh" userId="192f9da3-bd5c-42c3-8f41-80b8549e6782" providerId="ADAL" clId="{F830C17E-9D64-4BEF-A194-2F47D1141FB7}" dt="2021-06-10T23:20:56.472" v="884" actId="108"/>
          <ac:spMkLst>
            <pc:docMk/>
            <pc:sldMk cId="3225290215" sldId="275"/>
            <ac:spMk id="14" creationId="{48994EAF-4E78-4CAE-B66C-3DF0E96A631D}"/>
          </ac:spMkLst>
        </pc:spChg>
        <pc:spChg chg="mod">
          <ac:chgData name="Amandeep Singh" userId="192f9da3-bd5c-42c3-8f41-80b8549e6782" providerId="ADAL" clId="{F830C17E-9D64-4BEF-A194-2F47D1141FB7}" dt="2021-06-16T19:18:28.733" v="1037" actId="108"/>
          <ac:spMkLst>
            <pc:docMk/>
            <pc:sldMk cId="3225290215" sldId="275"/>
            <ac:spMk id="15" creationId="{29A1C19F-106E-4196-B6E2-D2A9D2B08157}"/>
          </ac:spMkLst>
        </pc:spChg>
        <pc:spChg chg="mod">
          <ac:chgData name="Amandeep Singh" userId="192f9da3-bd5c-42c3-8f41-80b8549e6782" providerId="ADAL" clId="{F830C17E-9D64-4BEF-A194-2F47D1141FB7}" dt="2021-06-10T23:20:52.475" v="883" actId="108"/>
          <ac:spMkLst>
            <pc:docMk/>
            <pc:sldMk cId="3225290215" sldId="275"/>
            <ac:spMk id="16" creationId="{36BC0862-EEDE-49C6-9EE4-54ADD904C68A}"/>
          </ac:spMkLst>
        </pc:spChg>
        <pc:spChg chg="mod">
          <ac:chgData name="Amandeep Singh" userId="192f9da3-bd5c-42c3-8f41-80b8549e6782" providerId="ADAL" clId="{F830C17E-9D64-4BEF-A194-2F47D1141FB7}" dt="2021-06-10T23:20:04.953" v="836"/>
          <ac:spMkLst>
            <pc:docMk/>
            <pc:sldMk cId="3225290215" sldId="275"/>
            <ac:spMk id="17" creationId="{E9F78639-61B3-4C05-981F-C91EE17297C4}"/>
          </ac:spMkLst>
        </pc:spChg>
        <pc:spChg chg="mod">
          <ac:chgData name="Amandeep Singh" userId="192f9da3-bd5c-42c3-8f41-80b8549e6782" providerId="ADAL" clId="{F830C17E-9D64-4BEF-A194-2F47D1141FB7}" dt="2021-06-10T23:20:04.953" v="836"/>
          <ac:spMkLst>
            <pc:docMk/>
            <pc:sldMk cId="3225290215" sldId="275"/>
            <ac:spMk id="18" creationId="{00D268B2-6454-4F66-A51A-EADEC1134430}"/>
          </ac:spMkLst>
        </pc:spChg>
        <pc:spChg chg="mod">
          <ac:chgData name="Amandeep Singh" userId="192f9da3-bd5c-42c3-8f41-80b8549e6782" providerId="ADAL" clId="{F830C17E-9D64-4BEF-A194-2F47D1141FB7}" dt="2021-06-10T23:20:04.953" v="836"/>
          <ac:spMkLst>
            <pc:docMk/>
            <pc:sldMk cId="3225290215" sldId="275"/>
            <ac:spMk id="19" creationId="{C298A95D-4D2F-4DB4-A64E-25AEBD70EC2E}"/>
          </ac:spMkLst>
        </pc:spChg>
        <pc:spChg chg="mod">
          <ac:chgData name="Amandeep Singh" userId="192f9da3-bd5c-42c3-8f41-80b8549e6782" providerId="ADAL" clId="{F830C17E-9D64-4BEF-A194-2F47D1141FB7}" dt="2021-06-10T23:20:49.266" v="882" actId="108"/>
          <ac:spMkLst>
            <pc:docMk/>
            <pc:sldMk cId="3225290215" sldId="275"/>
            <ac:spMk id="20" creationId="{D20F15E1-FEC3-45B1-BC85-A5A46AFB18A1}"/>
          </ac:spMkLst>
        </pc:spChg>
        <pc:spChg chg="add del mod">
          <ac:chgData name="Amandeep Singh" userId="192f9da3-bd5c-42c3-8f41-80b8549e6782" providerId="ADAL" clId="{F830C17E-9D64-4BEF-A194-2F47D1141FB7}" dt="2021-06-10T23:20:12.226" v="838"/>
          <ac:spMkLst>
            <pc:docMk/>
            <pc:sldMk cId="3225290215" sldId="275"/>
            <ac:spMk id="21" creationId="{87B6BEA0-3F9B-415E-860F-A6E38B7E4A9C}"/>
          </ac:spMkLst>
        </pc:spChg>
        <pc:spChg chg="mod">
          <ac:chgData name="Amandeep Singh" userId="192f9da3-bd5c-42c3-8f41-80b8549e6782" providerId="ADAL" clId="{F830C17E-9D64-4BEF-A194-2F47D1141FB7}" dt="2021-06-16T19:43:58.889" v="1286"/>
          <ac:spMkLst>
            <pc:docMk/>
            <pc:sldMk cId="3225290215" sldId="275"/>
            <ac:spMk id="23" creationId="{D92CE144-C0AA-4406-8C62-2F7B4A72FAE0}"/>
          </ac:spMkLst>
        </pc:spChg>
        <pc:spChg chg="mod">
          <ac:chgData name="Amandeep Singh" userId="192f9da3-bd5c-42c3-8f41-80b8549e6782" providerId="ADAL" clId="{F830C17E-9D64-4BEF-A194-2F47D1141FB7}" dt="2021-06-16T19:43:58.889" v="1286"/>
          <ac:spMkLst>
            <pc:docMk/>
            <pc:sldMk cId="3225290215" sldId="275"/>
            <ac:spMk id="24" creationId="{7708B862-99B7-42B6-B8BA-E5A297B31527}"/>
          </ac:spMkLst>
        </pc:spChg>
        <pc:spChg chg="mod">
          <ac:chgData name="Amandeep Singh" userId="192f9da3-bd5c-42c3-8f41-80b8549e6782" providerId="ADAL" clId="{F830C17E-9D64-4BEF-A194-2F47D1141FB7}" dt="2021-06-10T23:20:10.815" v="837"/>
          <ac:spMkLst>
            <pc:docMk/>
            <pc:sldMk cId="3225290215" sldId="275"/>
            <ac:spMk id="25" creationId="{77363973-C67C-4D83-86EB-064C6AF368B9}"/>
          </ac:spMkLst>
        </pc:spChg>
        <pc:spChg chg="mod">
          <ac:chgData name="Amandeep Singh" userId="192f9da3-bd5c-42c3-8f41-80b8549e6782" providerId="ADAL" clId="{F830C17E-9D64-4BEF-A194-2F47D1141FB7}" dt="2021-06-16T19:43:58.889" v="1286"/>
          <ac:spMkLst>
            <pc:docMk/>
            <pc:sldMk cId="3225290215" sldId="275"/>
            <ac:spMk id="25" creationId="{958AC18D-017A-4321-B7D7-FDB180466AC8}"/>
          </ac:spMkLst>
        </pc:spChg>
        <pc:spChg chg="mod">
          <ac:chgData name="Amandeep Singh" userId="192f9da3-bd5c-42c3-8f41-80b8549e6782" providerId="ADAL" clId="{F830C17E-9D64-4BEF-A194-2F47D1141FB7}" dt="2021-06-10T23:20:10.815" v="837"/>
          <ac:spMkLst>
            <pc:docMk/>
            <pc:sldMk cId="3225290215" sldId="275"/>
            <ac:spMk id="26" creationId="{07E405C4-EF1E-46A1-A65E-95FE547CD9A7}"/>
          </ac:spMkLst>
        </pc:spChg>
        <pc:spChg chg="mod">
          <ac:chgData name="Amandeep Singh" userId="192f9da3-bd5c-42c3-8f41-80b8549e6782" providerId="ADAL" clId="{F830C17E-9D64-4BEF-A194-2F47D1141FB7}" dt="2021-06-16T19:43:58.889" v="1286"/>
          <ac:spMkLst>
            <pc:docMk/>
            <pc:sldMk cId="3225290215" sldId="275"/>
            <ac:spMk id="26" creationId="{78922D3E-4AB8-41DC-B2A2-241A319E1D8A}"/>
          </ac:spMkLst>
        </pc:spChg>
        <pc:spChg chg="mod">
          <ac:chgData name="Amandeep Singh" userId="192f9da3-bd5c-42c3-8f41-80b8549e6782" providerId="ADAL" clId="{F830C17E-9D64-4BEF-A194-2F47D1141FB7}" dt="2021-06-16T19:43:58.889" v="1286"/>
          <ac:spMkLst>
            <pc:docMk/>
            <pc:sldMk cId="3225290215" sldId="275"/>
            <ac:spMk id="27" creationId="{5E234303-5C6A-4E55-ABA7-A212926829CA}"/>
          </ac:spMkLst>
        </pc:spChg>
        <pc:spChg chg="mod">
          <ac:chgData name="Amandeep Singh" userId="192f9da3-bd5c-42c3-8f41-80b8549e6782" providerId="ADAL" clId="{F830C17E-9D64-4BEF-A194-2F47D1141FB7}" dt="2021-06-10T23:20:10.815" v="837"/>
          <ac:spMkLst>
            <pc:docMk/>
            <pc:sldMk cId="3225290215" sldId="275"/>
            <ac:spMk id="27" creationId="{D32F4572-FD84-4AE2-853D-EB445D963892}"/>
          </ac:spMkLst>
        </pc:spChg>
        <pc:spChg chg="mod">
          <ac:chgData name="Amandeep Singh" userId="192f9da3-bd5c-42c3-8f41-80b8549e6782" providerId="ADAL" clId="{F830C17E-9D64-4BEF-A194-2F47D1141FB7}" dt="2021-06-10T23:20:10.815" v="837"/>
          <ac:spMkLst>
            <pc:docMk/>
            <pc:sldMk cId="3225290215" sldId="275"/>
            <ac:spMk id="28" creationId="{1789D747-D5A1-4939-8984-5651B2C7C19A}"/>
          </ac:spMkLst>
        </pc:spChg>
        <pc:spChg chg="mod">
          <ac:chgData name="Amandeep Singh" userId="192f9da3-bd5c-42c3-8f41-80b8549e6782" providerId="ADAL" clId="{F830C17E-9D64-4BEF-A194-2F47D1141FB7}" dt="2021-06-16T19:43:58.889" v="1286"/>
          <ac:spMkLst>
            <pc:docMk/>
            <pc:sldMk cId="3225290215" sldId="275"/>
            <ac:spMk id="28" creationId="{E45226C9-6F51-4B28-A205-7C920767B6C1}"/>
          </ac:spMkLst>
        </pc:spChg>
        <pc:spChg chg="mod">
          <ac:chgData name="Amandeep Singh" userId="192f9da3-bd5c-42c3-8f41-80b8549e6782" providerId="ADAL" clId="{F830C17E-9D64-4BEF-A194-2F47D1141FB7}" dt="2021-06-10T23:20:10.815" v="837"/>
          <ac:spMkLst>
            <pc:docMk/>
            <pc:sldMk cId="3225290215" sldId="275"/>
            <ac:spMk id="29" creationId="{170E1A29-9F82-4F9A-966C-366A87845A8F}"/>
          </ac:spMkLst>
        </pc:spChg>
        <pc:spChg chg="mod">
          <ac:chgData name="Amandeep Singh" userId="192f9da3-bd5c-42c3-8f41-80b8549e6782" providerId="ADAL" clId="{F830C17E-9D64-4BEF-A194-2F47D1141FB7}" dt="2021-06-16T19:44:13.159" v="1289" actId="108"/>
          <ac:spMkLst>
            <pc:docMk/>
            <pc:sldMk cId="3225290215" sldId="275"/>
            <ac:spMk id="29" creationId="{626A1502-0900-4AEE-A2F7-F7474494C741}"/>
          </ac:spMkLst>
        </pc:spChg>
        <pc:spChg chg="mod">
          <ac:chgData name="Amandeep Singh" userId="192f9da3-bd5c-42c3-8f41-80b8549e6782" providerId="ADAL" clId="{F830C17E-9D64-4BEF-A194-2F47D1141FB7}" dt="2021-06-16T19:43:58.889" v="1286"/>
          <ac:spMkLst>
            <pc:docMk/>
            <pc:sldMk cId="3225290215" sldId="275"/>
            <ac:spMk id="30" creationId="{9714B98B-4F72-4743-83B9-D8BEF42F7DA2}"/>
          </ac:spMkLst>
        </pc:spChg>
        <pc:spChg chg="mod">
          <ac:chgData name="Amandeep Singh" userId="192f9da3-bd5c-42c3-8f41-80b8549e6782" providerId="ADAL" clId="{F830C17E-9D64-4BEF-A194-2F47D1141FB7}" dt="2021-06-10T23:20:10.815" v="837"/>
          <ac:spMkLst>
            <pc:docMk/>
            <pc:sldMk cId="3225290215" sldId="275"/>
            <ac:spMk id="30" creationId="{F4E59BFB-CFA5-4EA8-AD89-8ACCFB97B3FF}"/>
          </ac:spMkLst>
        </pc:spChg>
        <pc:spChg chg="mod">
          <ac:chgData name="Amandeep Singh" userId="192f9da3-bd5c-42c3-8f41-80b8549e6782" providerId="ADAL" clId="{F830C17E-9D64-4BEF-A194-2F47D1141FB7}" dt="2021-06-16T19:43:58.889" v="1286"/>
          <ac:spMkLst>
            <pc:docMk/>
            <pc:sldMk cId="3225290215" sldId="275"/>
            <ac:spMk id="31" creationId="{685C3C74-E30B-4A1F-960A-00F4E2C1AECC}"/>
          </ac:spMkLst>
        </pc:spChg>
        <pc:spChg chg="mod">
          <ac:chgData name="Amandeep Singh" userId="192f9da3-bd5c-42c3-8f41-80b8549e6782" providerId="ADAL" clId="{F830C17E-9D64-4BEF-A194-2F47D1141FB7}" dt="2021-06-10T23:20:10.815" v="837"/>
          <ac:spMkLst>
            <pc:docMk/>
            <pc:sldMk cId="3225290215" sldId="275"/>
            <ac:spMk id="31" creationId="{7B1D58D2-7DF4-4470-BCF3-3EE533504B5E}"/>
          </ac:spMkLst>
        </pc:spChg>
        <pc:spChg chg="mod">
          <ac:chgData name="Amandeep Singh" userId="192f9da3-bd5c-42c3-8f41-80b8549e6782" providerId="ADAL" clId="{F830C17E-9D64-4BEF-A194-2F47D1141FB7}" dt="2021-06-16T19:43:58.889" v="1286"/>
          <ac:spMkLst>
            <pc:docMk/>
            <pc:sldMk cId="3225290215" sldId="275"/>
            <ac:spMk id="32" creationId="{1A93EBE3-A6C7-4985-9A71-24EC17F68F85}"/>
          </ac:spMkLst>
        </pc:spChg>
        <pc:spChg chg="mod">
          <ac:chgData name="Amandeep Singh" userId="192f9da3-bd5c-42c3-8f41-80b8549e6782" providerId="ADAL" clId="{F830C17E-9D64-4BEF-A194-2F47D1141FB7}" dt="2021-06-10T23:20:10.815" v="837"/>
          <ac:spMkLst>
            <pc:docMk/>
            <pc:sldMk cId="3225290215" sldId="275"/>
            <ac:spMk id="32" creationId="{9E1EF196-C53A-4908-B921-6C769FF5046D}"/>
          </ac:spMkLst>
        </pc:spChg>
        <pc:spChg chg="mod">
          <ac:chgData name="Amandeep Singh" userId="192f9da3-bd5c-42c3-8f41-80b8549e6782" providerId="ADAL" clId="{F830C17E-9D64-4BEF-A194-2F47D1141FB7}" dt="2021-06-16T19:43:58.889" v="1286"/>
          <ac:spMkLst>
            <pc:docMk/>
            <pc:sldMk cId="3225290215" sldId="275"/>
            <ac:spMk id="33" creationId="{B9F46BF6-A92D-42BA-9600-905EFD6D6756}"/>
          </ac:spMkLst>
        </pc:spChg>
        <pc:spChg chg="mod">
          <ac:chgData name="Amandeep Singh" userId="192f9da3-bd5c-42c3-8f41-80b8549e6782" providerId="ADAL" clId="{F830C17E-9D64-4BEF-A194-2F47D1141FB7}" dt="2021-06-10T23:20:10.815" v="837"/>
          <ac:spMkLst>
            <pc:docMk/>
            <pc:sldMk cId="3225290215" sldId="275"/>
            <ac:spMk id="33" creationId="{F0DC2EC8-DB2D-4BB1-9E5B-0E2F22D3DE82}"/>
          </ac:spMkLst>
        </pc:spChg>
        <pc:spChg chg="mod">
          <ac:chgData name="Amandeep Singh" userId="192f9da3-bd5c-42c3-8f41-80b8549e6782" providerId="ADAL" clId="{F830C17E-9D64-4BEF-A194-2F47D1141FB7}" dt="2021-06-10T23:20:10.815" v="837"/>
          <ac:spMkLst>
            <pc:docMk/>
            <pc:sldMk cId="3225290215" sldId="275"/>
            <ac:spMk id="34" creationId="{1047DE10-DEF0-4A73-A25D-6D3F008EBABF}"/>
          </ac:spMkLst>
        </pc:spChg>
        <pc:spChg chg="mod">
          <ac:chgData name="Amandeep Singh" userId="192f9da3-bd5c-42c3-8f41-80b8549e6782" providerId="ADAL" clId="{F830C17E-9D64-4BEF-A194-2F47D1141FB7}" dt="2021-06-16T19:43:58.889" v="1286"/>
          <ac:spMkLst>
            <pc:docMk/>
            <pc:sldMk cId="3225290215" sldId="275"/>
            <ac:spMk id="34" creationId="{2FD70676-119D-46D8-8FB5-2ECDA770BAF4}"/>
          </ac:spMkLst>
        </pc:spChg>
        <pc:spChg chg="mod">
          <ac:chgData name="Amandeep Singh" userId="192f9da3-bd5c-42c3-8f41-80b8549e6782" providerId="ADAL" clId="{F830C17E-9D64-4BEF-A194-2F47D1141FB7}" dt="2021-06-10T23:20:10.815" v="837"/>
          <ac:spMkLst>
            <pc:docMk/>
            <pc:sldMk cId="3225290215" sldId="275"/>
            <ac:spMk id="35" creationId="{4E7A231C-9D6A-4086-A614-8AB7CD446510}"/>
          </ac:spMkLst>
        </pc:spChg>
        <pc:spChg chg="mod">
          <ac:chgData name="Amandeep Singh" userId="192f9da3-bd5c-42c3-8f41-80b8549e6782" providerId="ADAL" clId="{F830C17E-9D64-4BEF-A194-2F47D1141FB7}" dt="2021-06-16T19:44:07.527" v="1288" actId="108"/>
          <ac:spMkLst>
            <pc:docMk/>
            <pc:sldMk cId="3225290215" sldId="275"/>
            <ac:spMk id="35" creationId="{E57D908F-6C31-46BA-AC83-930719FE0396}"/>
          </ac:spMkLst>
        </pc:spChg>
        <pc:spChg chg="mod">
          <ac:chgData name="Amandeep Singh" userId="192f9da3-bd5c-42c3-8f41-80b8549e6782" providerId="ADAL" clId="{F830C17E-9D64-4BEF-A194-2F47D1141FB7}" dt="2021-06-10T23:20:10.815" v="837"/>
          <ac:spMkLst>
            <pc:docMk/>
            <pc:sldMk cId="3225290215" sldId="275"/>
            <ac:spMk id="36" creationId="{CDFFFCE0-EF74-45BA-9942-F4168AF090AA}"/>
          </ac:spMkLst>
        </pc:spChg>
        <pc:spChg chg="mod">
          <ac:chgData name="Amandeep Singh" userId="192f9da3-bd5c-42c3-8f41-80b8549e6782" providerId="ADAL" clId="{F830C17E-9D64-4BEF-A194-2F47D1141FB7}" dt="2021-06-16T19:43:58.889" v="1286"/>
          <ac:spMkLst>
            <pc:docMk/>
            <pc:sldMk cId="3225290215" sldId="275"/>
            <ac:spMk id="36" creationId="{DF271D7B-8D09-45D7-9ABE-D10F5E6B6AB5}"/>
          </ac:spMkLst>
        </pc:spChg>
        <pc:spChg chg="mod">
          <ac:chgData name="Amandeep Singh" userId="192f9da3-bd5c-42c3-8f41-80b8549e6782" providerId="ADAL" clId="{F830C17E-9D64-4BEF-A194-2F47D1141FB7}" dt="2021-06-10T23:20:10.815" v="837"/>
          <ac:spMkLst>
            <pc:docMk/>
            <pc:sldMk cId="3225290215" sldId="275"/>
            <ac:spMk id="37" creationId="{3B205DA5-FD1A-4294-85A2-D09F751E07D8}"/>
          </ac:spMkLst>
        </pc:spChg>
        <pc:spChg chg="add mod">
          <ac:chgData name="Amandeep Singh" userId="192f9da3-bd5c-42c3-8f41-80b8549e6782" providerId="ADAL" clId="{F830C17E-9D64-4BEF-A194-2F47D1141FB7}" dt="2021-06-16T19:17:50.457" v="1035"/>
          <ac:spMkLst>
            <pc:docMk/>
            <pc:sldMk cId="3225290215" sldId="275"/>
            <ac:spMk id="39" creationId="{8094C93D-57CE-47B4-BE4C-B8CC97D4912C}"/>
          </ac:spMkLst>
        </pc:spChg>
        <pc:grpChg chg="add del mod">
          <ac:chgData name="Amandeep Singh" userId="192f9da3-bd5c-42c3-8f41-80b8549e6782" providerId="ADAL" clId="{F830C17E-9D64-4BEF-A194-2F47D1141FB7}" dt="2021-06-16T19:43:57.617" v="1285" actId="478"/>
          <ac:grpSpMkLst>
            <pc:docMk/>
            <pc:sldMk cId="3225290215" sldId="275"/>
            <ac:grpSpMk id="6" creationId="{AE273A18-75E2-489C-B5FB-F13504EE9AE2}"/>
          </ac:grpSpMkLst>
        </pc:grpChg>
        <pc:grpChg chg="add mod">
          <ac:chgData name="Amandeep Singh" userId="192f9da3-bd5c-42c3-8f41-80b8549e6782" providerId="ADAL" clId="{F830C17E-9D64-4BEF-A194-2F47D1141FB7}" dt="2021-06-16T19:43:58.889" v="1286"/>
          <ac:grpSpMkLst>
            <pc:docMk/>
            <pc:sldMk cId="3225290215" sldId="275"/>
            <ac:grpSpMk id="21" creationId="{3C205E51-120E-4F12-ADFF-221BE9C31AFC}"/>
          </ac:grpSpMkLst>
        </pc:grpChg>
        <pc:grpChg chg="add del mod">
          <ac:chgData name="Amandeep Singh" userId="192f9da3-bd5c-42c3-8f41-80b8549e6782" providerId="ADAL" clId="{F830C17E-9D64-4BEF-A194-2F47D1141FB7}" dt="2021-06-10T23:20:12.226" v="838"/>
          <ac:grpSpMkLst>
            <pc:docMk/>
            <pc:sldMk cId="3225290215" sldId="275"/>
            <ac:grpSpMk id="23" creationId="{97449FBE-A69F-41FF-A1BB-65BCD4AC4C47}"/>
          </ac:grpSpMkLst>
        </pc:grpChg>
        <pc:graphicFrameChg chg="add mod modGraphic">
          <ac:chgData name="Amandeep Singh" userId="192f9da3-bd5c-42c3-8f41-80b8549e6782" providerId="ADAL" clId="{F830C17E-9D64-4BEF-A194-2F47D1141FB7}" dt="2021-06-16T19:44:46.589" v="1297" actId="14100"/>
          <ac:graphicFrameMkLst>
            <pc:docMk/>
            <pc:sldMk cId="3225290215" sldId="275"/>
            <ac:graphicFrameMk id="5" creationId="{06F77EDB-A07B-4051-AC68-566375C81AC9}"/>
          </ac:graphicFrameMkLst>
        </pc:graphicFrameChg>
        <pc:graphicFrameChg chg="add del mod">
          <ac:chgData name="Amandeep Singh" userId="192f9da3-bd5c-42c3-8f41-80b8549e6782" providerId="ADAL" clId="{F830C17E-9D64-4BEF-A194-2F47D1141FB7}" dt="2021-06-10T23:20:12.226" v="838"/>
          <ac:graphicFrameMkLst>
            <pc:docMk/>
            <pc:sldMk cId="3225290215" sldId="275"/>
            <ac:graphicFrameMk id="22" creationId="{71C19570-DE05-49CA-B453-17A20A5832B9}"/>
          </ac:graphicFrameMkLst>
        </pc:graphicFrameChg>
        <pc:inkChg chg="mod">
          <ac:chgData name="Amandeep Singh" userId="192f9da3-bd5c-42c3-8f41-80b8549e6782" providerId="ADAL" clId="{F830C17E-9D64-4BEF-A194-2F47D1141FB7}" dt="2021-06-10T23:20:04.953" v="836"/>
          <ac:inkMkLst>
            <pc:docMk/>
            <pc:sldMk cId="3225290215" sldId="275"/>
            <ac:inkMk id="7" creationId="{30E01618-2360-4FB5-8E6A-11C5D74BEDDB}"/>
          </ac:inkMkLst>
        </pc:inkChg>
        <pc:inkChg chg="mod">
          <ac:chgData name="Amandeep Singh" userId="192f9da3-bd5c-42c3-8f41-80b8549e6782" providerId="ADAL" clId="{F830C17E-9D64-4BEF-A194-2F47D1141FB7}" dt="2021-06-16T19:43:58.889" v="1286"/>
          <ac:inkMkLst>
            <pc:docMk/>
            <pc:sldMk cId="3225290215" sldId="275"/>
            <ac:inkMk id="22" creationId="{5B3B7D17-AED1-4BA0-8097-840CECAB12EE}"/>
          </ac:inkMkLst>
        </pc:inkChg>
        <pc:inkChg chg="mod">
          <ac:chgData name="Amandeep Singh" userId="192f9da3-bd5c-42c3-8f41-80b8549e6782" providerId="ADAL" clId="{F830C17E-9D64-4BEF-A194-2F47D1141FB7}" dt="2021-06-10T23:20:10.815" v="837"/>
          <ac:inkMkLst>
            <pc:docMk/>
            <pc:sldMk cId="3225290215" sldId="275"/>
            <ac:inkMk id="24" creationId="{A085A231-3B4C-447E-B4D2-014AC0117DFE}"/>
          </ac:inkMkLst>
        </pc:inkChg>
      </pc:sldChg>
      <pc:sldChg chg="new del">
        <pc:chgData name="Amandeep Singh" userId="192f9da3-bd5c-42c3-8f41-80b8549e6782" providerId="ADAL" clId="{F830C17E-9D64-4BEF-A194-2F47D1141FB7}" dt="2021-06-09T20:07:55.188" v="578" actId="47"/>
        <pc:sldMkLst>
          <pc:docMk/>
          <pc:sldMk cId="3792503929" sldId="275"/>
        </pc:sldMkLst>
      </pc:sldChg>
      <pc:sldChg chg="ord">
        <pc:chgData name="Amandeep Singh" userId="192f9da3-bd5c-42c3-8f41-80b8549e6782" providerId="ADAL" clId="{F830C17E-9D64-4BEF-A194-2F47D1141FB7}" dt="2021-06-16T19:15:30.411" v="1009"/>
        <pc:sldMkLst>
          <pc:docMk/>
          <pc:sldMk cId="104688657" sldId="276"/>
        </pc:sldMkLst>
      </pc:sldChg>
      <pc:sldChg chg="addSp delSp modSp add del mod">
        <pc:chgData name="Amandeep Singh" userId="192f9da3-bd5c-42c3-8f41-80b8549e6782" providerId="ADAL" clId="{F830C17E-9D64-4BEF-A194-2F47D1141FB7}" dt="2021-06-09T23:40:01.138" v="714" actId="2696"/>
        <pc:sldMkLst>
          <pc:docMk/>
          <pc:sldMk cId="1306612539" sldId="276"/>
        </pc:sldMkLst>
        <pc:spChg chg="add mod">
          <ac:chgData name="Amandeep Singh" userId="192f9da3-bd5c-42c3-8f41-80b8549e6782" providerId="ADAL" clId="{F830C17E-9D64-4BEF-A194-2F47D1141FB7}" dt="2021-06-09T23:37:44.521" v="687" actId="14100"/>
          <ac:spMkLst>
            <pc:docMk/>
            <pc:sldMk cId="1306612539" sldId="276"/>
            <ac:spMk id="4" creationId="{0E4FD8E0-9641-46DF-BDBA-2625DAB1D82E}"/>
          </ac:spMkLst>
        </pc:spChg>
        <pc:spChg chg="add del mod">
          <ac:chgData name="Amandeep Singh" userId="192f9da3-bd5c-42c3-8f41-80b8549e6782" providerId="ADAL" clId="{F830C17E-9D64-4BEF-A194-2F47D1141FB7}" dt="2021-06-09T23:38:02.858" v="691" actId="478"/>
          <ac:spMkLst>
            <pc:docMk/>
            <pc:sldMk cId="1306612539" sldId="276"/>
            <ac:spMk id="6" creationId="{D727FD30-839A-40B1-82B0-A7A3BB3C0D80}"/>
          </ac:spMkLst>
        </pc:spChg>
        <pc:spChg chg="add mod">
          <ac:chgData name="Amandeep Singh" userId="192f9da3-bd5c-42c3-8f41-80b8549e6782" providerId="ADAL" clId="{F830C17E-9D64-4BEF-A194-2F47D1141FB7}" dt="2021-06-09T20:16:45.618" v="646" actId="14100"/>
          <ac:spMkLst>
            <pc:docMk/>
            <pc:sldMk cId="1306612539" sldId="276"/>
            <ac:spMk id="7" creationId="{C942F50B-CD2D-4788-A44D-1FB0DD4558BD}"/>
          </ac:spMkLst>
        </pc:spChg>
        <pc:spChg chg="add mod">
          <ac:chgData name="Amandeep Singh" userId="192f9da3-bd5c-42c3-8f41-80b8549e6782" providerId="ADAL" clId="{F830C17E-9D64-4BEF-A194-2F47D1141FB7}" dt="2021-06-09T20:18:03.433" v="656" actId="20577"/>
          <ac:spMkLst>
            <pc:docMk/>
            <pc:sldMk cId="1306612539" sldId="276"/>
            <ac:spMk id="8" creationId="{26CBE96B-AB74-4EFC-993C-AD89FFC09A79}"/>
          </ac:spMkLst>
        </pc:spChg>
        <pc:spChg chg="mod topLvl">
          <ac:chgData name="Amandeep Singh" userId="192f9da3-bd5c-42c3-8f41-80b8549e6782" providerId="ADAL" clId="{F830C17E-9D64-4BEF-A194-2F47D1141FB7}" dt="2021-06-09T20:20:49.910" v="669" actId="14100"/>
          <ac:spMkLst>
            <pc:docMk/>
            <pc:sldMk cId="1306612539" sldId="276"/>
            <ac:spMk id="14" creationId="{7711D21B-C738-4C6F-A1F8-D722F3F7E2D7}"/>
          </ac:spMkLst>
        </pc:spChg>
        <pc:spChg chg="mod topLvl">
          <ac:chgData name="Amandeep Singh" userId="192f9da3-bd5c-42c3-8f41-80b8549e6782" providerId="ADAL" clId="{F830C17E-9D64-4BEF-A194-2F47D1141FB7}" dt="2021-06-09T20:08:32.161" v="581" actId="14100"/>
          <ac:spMkLst>
            <pc:docMk/>
            <pc:sldMk cId="1306612539" sldId="276"/>
            <ac:spMk id="19" creationId="{91999354-4611-49C8-A91A-EDBA2CFAB891}"/>
          </ac:spMkLst>
        </pc:spChg>
        <pc:spChg chg="mod topLvl">
          <ac:chgData name="Amandeep Singh" userId="192f9da3-bd5c-42c3-8f41-80b8549e6782" providerId="ADAL" clId="{F830C17E-9D64-4BEF-A194-2F47D1141FB7}" dt="2021-06-09T20:27:18.433" v="678" actId="14100"/>
          <ac:spMkLst>
            <pc:docMk/>
            <pc:sldMk cId="1306612539" sldId="276"/>
            <ac:spMk id="33" creationId="{4835A690-A000-4DAD-AF3D-4062F1E3807C}"/>
          </ac:spMkLst>
        </pc:spChg>
        <pc:spChg chg="mod topLvl">
          <ac:chgData name="Amandeep Singh" userId="192f9da3-bd5c-42c3-8f41-80b8549e6782" providerId="ADAL" clId="{F830C17E-9D64-4BEF-A194-2F47D1141FB7}" dt="2021-06-09T20:27:20.447" v="679" actId="14100"/>
          <ac:spMkLst>
            <pc:docMk/>
            <pc:sldMk cId="1306612539" sldId="276"/>
            <ac:spMk id="35" creationId="{479CC1FE-7DC9-44E0-897C-393E89008B61}"/>
          </ac:spMkLst>
        </pc:spChg>
        <pc:spChg chg="mod topLvl">
          <ac:chgData name="Amandeep Singh" userId="192f9da3-bd5c-42c3-8f41-80b8549e6782" providerId="ADAL" clId="{F830C17E-9D64-4BEF-A194-2F47D1141FB7}" dt="2021-06-09T20:08:32.161" v="581" actId="14100"/>
          <ac:spMkLst>
            <pc:docMk/>
            <pc:sldMk cId="1306612539" sldId="276"/>
            <ac:spMk id="41" creationId="{127047F8-FEDB-43A1-AFF9-54D4E02E9811}"/>
          </ac:spMkLst>
        </pc:spChg>
        <pc:spChg chg="mod topLvl">
          <ac:chgData name="Amandeep Singh" userId="192f9da3-bd5c-42c3-8f41-80b8549e6782" providerId="ADAL" clId="{F830C17E-9D64-4BEF-A194-2F47D1141FB7}" dt="2021-06-09T23:37:43.838" v="686" actId="14100"/>
          <ac:spMkLst>
            <pc:docMk/>
            <pc:sldMk cId="1306612539" sldId="276"/>
            <ac:spMk id="42" creationId="{B57DE825-AC95-433A-AD29-B48300DDAC24}"/>
          </ac:spMkLst>
        </pc:spChg>
        <pc:spChg chg="mod topLvl">
          <ac:chgData name="Amandeep Singh" userId="192f9da3-bd5c-42c3-8f41-80b8549e6782" providerId="ADAL" clId="{F830C17E-9D64-4BEF-A194-2F47D1141FB7}" dt="2021-06-09T20:08:32.161" v="581" actId="14100"/>
          <ac:spMkLst>
            <pc:docMk/>
            <pc:sldMk cId="1306612539" sldId="276"/>
            <ac:spMk id="43" creationId="{68EEC265-E34B-4974-9B42-90AA49BF2242}"/>
          </ac:spMkLst>
        </pc:spChg>
        <pc:spChg chg="mod topLvl">
          <ac:chgData name="Amandeep Singh" userId="192f9da3-bd5c-42c3-8f41-80b8549e6782" providerId="ADAL" clId="{F830C17E-9D64-4BEF-A194-2F47D1141FB7}" dt="2021-06-09T20:08:32.161" v="581" actId="14100"/>
          <ac:spMkLst>
            <pc:docMk/>
            <pc:sldMk cId="1306612539" sldId="276"/>
            <ac:spMk id="44" creationId="{C4B1D6C7-3160-4331-80FB-8DBB87B964FC}"/>
          </ac:spMkLst>
        </pc:spChg>
        <pc:spChg chg="mod topLvl">
          <ac:chgData name="Amandeep Singh" userId="192f9da3-bd5c-42c3-8f41-80b8549e6782" providerId="ADAL" clId="{F830C17E-9D64-4BEF-A194-2F47D1141FB7}" dt="2021-06-09T20:27:16.541" v="677" actId="14100"/>
          <ac:spMkLst>
            <pc:docMk/>
            <pc:sldMk cId="1306612539" sldId="276"/>
            <ac:spMk id="47" creationId="{C08D3209-2199-4E75-A5CB-5B006C1F1A56}"/>
          </ac:spMkLst>
        </pc:spChg>
        <pc:grpChg chg="del mod">
          <ac:chgData name="Amandeep Singh" userId="192f9da3-bd5c-42c3-8f41-80b8549e6782" providerId="ADAL" clId="{F830C17E-9D64-4BEF-A194-2F47D1141FB7}" dt="2021-06-09T20:08:14.660" v="580" actId="165"/>
          <ac:grpSpMkLst>
            <pc:docMk/>
            <pc:sldMk cId="1306612539" sldId="276"/>
            <ac:grpSpMk id="37" creationId="{8B1DB095-C26E-43E3-9EDF-61DA2EFBA3DE}"/>
          </ac:grpSpMkLst>
        </pc:grpChg>
      </pc:sldChg>
      <pc:sldChg chg="modSp add del mod">
        <pc:chgData name="Amandeep Singh" userId="192f9da3-bd5c-42c3-8f41-80b8549e6782" providerId="ADAL" clId="{F830C17E-9D64-4BEF-A194-2F47D1141FB7}" dt="2021-06-09T23:40:03.212" v="715" actId="2696"/>
        <pc:sldMkLst>
          <pc:docMk/>
          <pc:sldMk cId="2985744616" sldId="277"/>
        </pc:sldMkLst>
        <pc:spChg chg="mod">
          <ac:chgData name="Amandeep Singh" userId="192f9da3-bd5c-42c3-8f41-80b8549e6782" providerId="ADAL" clId="{F830C17E-9D64-4BEF-A194-2F47D1141FB7}" dt="2021-06-09T20:09:29.803" v="594" actId="14100"/>
          <ac:spMkLst>
            <pc:docMk/>
            <pc:sldMk cId="2985744616" sldId="277"/>
            <ac:spMk id="21" creationId="{1B526CDC-7946-43A8-9086-3049145BEF8A}"/>
          </ac:spMkLst>
        </pc:spChg>
        <pc:spChg chg="mod">
          <ac:chgData name="Amandeep Singh" userId="192f9da3-bd5c-42c3-8f41-80b8549e6782" providerId="ADAL" clId="{F830C17E-9D64-4BEF-A194-2F47D1141FB7}" dt="2021-06-09T20:10:14.350" v="602" actId="14100"/>
          <ac:spMkLst>
            <pc:docMk/>
            <pc:sldMk cId="2985744616" sldId="277"/>
            <ac:spMk id="27" creationId="{4E7EB817-567A-4250-AA92-329F433F3203}"/>
          </ac:spMkLst>
        </pc:spChg>
      </pc:sldChg>
      <pc:sldChg chg="addSp delSp modSp new mod">
        <pc:chgData name="Amandeep Singh" userId="192f9da3-bd5c-42c3-8f41-80b8549e6782" providerId="ADAL" clId="{F830C17E-9D64-4BEF-A194-2F47D1141FB7}" dt="2021-06-16T19:15:16.584" v="1007" actId="1076"/>
        <pc:sldMkLst>
          <pc:docMk/>
          <pc:sldMk cId="3198015444" sldId="278"/>
        </pc:sldMkLst>
        <pc:spChg chg="del">
          <ac:chgData name="Amandeep Singh" userId="192f9da3-bd5c-42c3-8f41-80b8549e6782" providerId="ADAL" clId="{F830C17E-9D64-4BEF-A194-2F47D1141FB7}" dt="2021-06-16T19:09:14.024" v="914" actId="478"/>
          <ac:spMkLst>
            <pc:docMk/>
            <pc:sldMk cId="3198015444" sldId="278"/>
            <ac:spMk id="2" creationId="{6B5BDA24-56BD-43D3-BE51-DAF0539B2C4B}"/>
          </ac:spMkLst>
        </pc:spChg>
        <pc:spChg chg="del">
          <ac:chgData name="Amandeep Singh" userId="192f9da3-bd5c-42c3-8f41-80b8549e6782" providerId="ADAL" clId="{F830C17E-9D64-4BEF-A194-2F47D1141FB7}" dt="2021-06-16T19:09:12.367" v="913" actId="478"/>
          <ac:spMkLst>
            <pc:docMk/>
            <pc:sldMk cId="3198015444" sldId="278"/>
            <ac:spMk id="3" creationId="{D8C8FCD0-9DC2-4845-8155-78C9E553FCC1}"/>
          </ac:spMkLst>
        </pc:spChg>
        <pc:spChg chg="add mod">
          <ac:chgData name="Amandeep Singh" userId="192f9da3-bd5c-42c3-8f41-80b8549e6782" providerId="ADAL" clId="{F830C17E-9D64-4BEF-A194-2F47D1141FB7}" dt="2021-06-16T19:15:16.584" v="1007" actId="1076"/>
          <ac:spMkLst>
            <pc:docMk/>
            <pc:sldMk cId="3198015444" sldId="278"/>
            <ac:spMk id="5" creationId="{5D1051BB-FFC0-4EFD-BEA1-74C475C9EF07}"/>
          </ac:spMkLst>
        </pc:spChg>
        <pc:spChg chg="mod">
          <ac:chgData name="Amandeep Singh" userId="192f9da3-bd5c-42c3-8f41-80b8549e6782" providerId="ADAL" clId="{F830C17E-9D64-4BEF-A194-2F47D1141FB7}" dt="2021-06-16T19:09:21.834" v="916"/>
          <ac:spMkLst>
            <pc:docMk/>
            <pc:sldMk cId="3198015444" sldId="278"/>
            <ac:spMk id="7" creationId="{17309375-DE54-471F-A572-D70794A152E3}"/>
          </ac:spMkLst>
        </pc:spChg>
        <pc:spChg chg="mod">
          <ac:chgData name="Amandeep Singh" userId="192f9da3-bd5c-42c3-8f41-80b8549e6782" providerId="ADAL" clId="{F830C17E-9D64-4BEF-A194-2F47D1141FB7}" dt="2021-06-16T19:09:21.834" v="916"/>
          <ac:spMkLst>
            <pc:docMk/>
            <pc:sldMk cId="3198015444" sldId="278"/>
            <ac:spMk id="8" creationId="{4433029D-84A6-4FBE-94EE-179571747228}"/>
          </ac:spMkLst>
        </pc:spChg>
        <pc:spChg chg="mod">
          <ac:chgData name="Amandeep Singh" userId="192f9da3-bd5c-42c3-8f41-80b8549e6782" providerId="ADAL" clId="{F830C17E-9D64-4BEF-A194-2F47D1141FB7}" dt="2021-06-16T19:09:21.834" v="916"/>
          <ac:spMkLst>
            <pc:docMk/>
            <pc:sldMk cId="3198015444" sldId="278"/>
            <ac:spMk id="9" creationId="{4BAD165A-0729-4598-9BFA-788A083B394C}"/>
          </ac:spMkLst>
        </pc:spChg>
        <pc:spChg chg="mod">
          <ac:chgData name="Amandeep Singh" userId="192f9da3-bd5c-42c3-8f41-80b8549e6782" providerId="ADAL" clId="{F830C17E-9D64-4BEF-A194-2F47D1141FB7}" dt="2021-06-16T19:09:36.498" v="918" actId="1076"/>
          <ac:spMkLst>
            <pc:docMk/>
            <pc:sldMk cId="3198015444" sldId="278"/>
            <ac:spMk id="10" creationId="{387080D3-CF7C-49F1-AA2B-2BC3A3237294}"/>
          </ac:spMkLst>
        </pc:spChg>
        <pc:spChg chg="mod">
          <ac:chgData name="Amandeep Singh" userId="192f9da3-bd5c-42c3-8f41-80b8549e6782" providerId="ADAL" clId="{F830C17E-9D64-4BEF-A194-2F47D1141FB7}" dt="2021-06-16T19:09:30.455" v="917"/>
          <ac:spMkLst>
            <pc:docMk/>
            <pc:sldMk cId="3198015444" sldId="278"/>
            <ac:spMk id="12" creationId="{85B6A727-4807-4520-83C4-4CE8AD3009B0}"/>
          </ac:spMkLst>
        </pc:spChg>
        <pc:spChg chg="mod">
          <ac:chgData name="Amandeep Singh" userId="192f9da3-bd5c-42c3-8f41-80b8549e6782" providerId="ADAL" clId="{F830C17E-9D64-4BEF-A194-2F47D1141FB7}" dt="2021-06-16T19:09:30.455" v="917"/>
          <ac:spMkLst>
            <pc:docMk/>
            <pc:sldMk cId="3198015444" sldId="278"/>
            <ac:spMk id="13" creationId="{D1F144C8-BB8D-40F3-A1B3-CDD4C06A8969}"/>
          </ac:spMkLst>
        </pc:spChg>
        <pc:spChg chg="mod">
          <ac:chgData name="Amandeep Singh" userId="192f9da3-bd5c-42c3-8f41-80b8549e6782" providerId="ADAL" clId="{F830C17E-9D64-4BEF-A194-2F47D1141FB7}" dt="2021-06-16T19:09:30.455" v="917"/>
          <ac:spMkLst>
            <pc:docMk/>
            <pc:sldMk cId="3198015444" sldId="278"/>
            <ac:spMk id="14" creationId="{E0317429-B61F-4B84-A3CB-117A02BC9942}"/>
          </ac:spMkLst>
        </pc:spChg>
        <pc:spChg chg="mod">
          <ac:chgData name="Amandeep Singh" userId="192f9da3-bd5c-42c3-8f41-80b8549e6782" providerId="ADAL" clId="{F830C17E-9D64-4BEF-A194-2F47D1141FB7}" dt="2021-06-16T19:09:30.455" v="917"/>
          <ac:spMkLst>
            <pc:docMk/>
            <pc:sldMk cId="3198015444" sldId="278"/>
            <ac:spMk id="15" creationId="{31AE228A-2A9E-4496-9003-FC10B8440181}"/>
          </ac:spMkLst>
        </pc:spChg>
        <pc:grpChg chg="add mod">
          <ac:chgData name="Amandeep Singh" userId="192f9da3-bd5c-42c3-8f41-80b8549e6782" providerId="ADAL" clId="{F830C17E-9D64-4BEF-A194-2F47D1141FB7}" dt="2021-06-16T19:09:44.492" v="919" actId="1076"/>
          <ac:grpSpMkLst>
            <pc:docMk/>
            <pc:sldMk cId="3198015444" sldId="278"/>
            <ac:grpSpMk id="6" creationId="{10D9362E-45DF-4D4D-B083-8AC4B8D8E751}"/>
          </ac:grpSpMkLst>
        </pc:grpChg>
        <pc:grpChg chg="add mod">
          <ac:chgData name="Amandeep Singh" userId="192f9da3-bd5c-42c3-8f41-80b8549e6782" providerId="ADAL" clId="{F830C17E-9D64-4BEF-A194-2F47D1141FB7}" dt="2021-06-16T19:09:46.470" v="920" actId="1076"/>
          <ac:grpSpMkLst>
            <pc:docMk/>
            <pc:sldMk cId="3198015444" sldId="278"/>
            <ac:grpSpMk id="11" creationId="{41A9DF1F-C957-4218-A6FB-B8C950085F45}"/>
          </ac:grpSpMkLst>
        </pc:grpChg>
      </pc:sldChg>
      <pc:sldChg chg="addSp delSp modSp new del mod setBg modClrScheme chgLayout">
        <pc:chgData name="Amandeep Singh" userId="192f9da3-bd5c-42c3-8f41-80b8549e6782" providerId="ADAL" clId="{F830C17E-9D64-4BEF-A194-2F47D1141FB7}" dt="2021-06-16T19:10:59.023" v="947" actId="47"/>
        <pc:sldMkLst>
          <pc:docMk/>
          <pc:sldMk cId="241950028" sldId="279"/>
        </pc:sldMkLst>
        <pc:spChg chg="del mod ord">
          <ac:chgData name="Amandeep Singh" userId="192f9da3-bd5c-42c3-8f41-80b8549e6782" providerId="ADAL" clId="{F830C17E-9D64-4BEF-A194-2F47D1141FB7}" dt="2021-06-16T19:09:57.819" v="922" actId="700"/>
          <ac:spMkLst>
            <pc:docMk/>
            <pc:sldMk cId="241950028" sldId="279"/>
            <ac:spMk id="2" creationId="{206C3B51-0F6D-4ACB-BF3B-07B8E10AED3B}"/>
          </ac:spMkLst>
        </pc:spChg>
        <pc:spChg chg="del mod ord">
          <ac:chgData name="Amandeep Singh" userId="192f9da3-bd5c-42c3-8f41-80b8549e6782" providerId="ADAL" clId="{F830C17E-9D64-4BEF-A194-2F47D1141FB7}" dt="2021-06-16T19:09:57.819" v="922" actId="700"/>
          <ac:spMkLst>
            <pc:docMk/>
            <pc:sldMk cId="241950028" sldId="279"/>
            <ac:spMk id="3" creationId="{E748805C-361B-43EF-9D00-FA3F51F8E764}"/>
          </ac:spMkLst>
        </pc:spChg>
        <pc:spChg chg="add mod ord">
          <ac:chgData name="Amandeep Singh" userId="192f9da3-bd5c-42c3-8f41-80b8549e6782" providerId="ADAL" clId="{F830C17E-9D64-4BEF-A194-2F47D1141FB7}" dt="2021-06-16T19:10:37.551" v="941"/>
          <ac:spMkLst>
            <pc:docMk/>
            <pc:sldMk cId="241950028" sldId="279"/>
            <ac:spMk id="4" creationId="{5215C8F2-630B-4B1C-9AB3-7E15AE810583}"/>
          </ac:spMkLst>
        </pc:spChg>
        <pc:spChg chg="add mod ord">
          <ac:chgData name="Amandeep Singh" userId="192f9da3-bd5c-42c3-8f41-80b8549e6782" providerId="ADAL" clId="{F830C17E-9D64-4BEF-A194-2F47D1141FB7}" dt="2021-06-16T19:10:37.551" v="941"/>
          <ac:spMkLst>
            <pc:docMk/>
            <pc:sldMk cId="241950028" sldId="279"/>
            <ac:spMk id="5" creationId="{9C06E686-BA4E-4496-9889-C5069685FEAC}"/>
          </ac:spMkLst>
        </pc:spChg>
      </pc:sldChg>
      <pc:sldChg chg="addSp delSp modSp add mod ord delDesignElem chgLayout">
        <pc:chgData name="Amandeep Singh" userId="192f9da3-bd5c-42c3-8f41-80b8549e6782" providerId="ADAL" clId="{F830C17E-9D64-4BEF-A194-2F47D1141FB7}" dt="2021-06-16T19:11:15.992" v="979" actId="6549"/>
        <pc:sldMkLst>
          <pc:docMk/>
          <pc:sldMk cId="110819607" sldId="280"/>
        </pc:sldMkLst>
        <pc:spChg chg="add del mod">
          <ac:chgData name="Amandeep Singh" userId="192f9da3-bd5c-42c3-8f41-80b8549e6782" providerId="ADAL" clId="{F830C17E-9D64-4BEF-A194-2F47D1141FB7}" dt="2021-06-16T19:11:06.649" v="949" actId="6264"/>
          <ac:spMkLst>
            <pc:docMk/>
            <pc:sldMk cId="110819607" sldId="280"/>
            <ac:spMk id="2" creationId="{A61E1277-F0E7-4AA8-A458-50E14ACB08CE}"/>
          </ac:spMkLst>
        </pc:spChg>
        <pc:spChg chg="add del mod ord">
          <ac:chgData name="Amandeep Singh" userId="192f9da3-bd5c-42c3-8f41-80b8549e6782" providerId="ADAL" clId="{F830C17E-9D64-4BEF-A194-2F47D1141FB7}" dt="2021-06-16T19:11:06.649" v="949" actId="6264"/>
          <ac:spMkLst>
            <pc:docMk/>
            <pc:sldMk cId="110819607" sldId="280"/>
            <ac:spMk id="3" creationId="{7E0CC4D6-B9E2-4BF0-941D-B7927DBAD10B}"/>
          </ac:spMkLst>
        </pc:spChg>
        <pc:spChg chg="mod ord">
          <ac:chgData name="Amandeep Singh" userId="192f9da3-bd5c-42c3-8f41-80b8549e6782" providerId="ADAL" clId="{F830C17E-9D64-4BEF-A194-2F47D1141FB7}" dt="2021-06-16T19:11:15.992" v="979" actId="6549"/>
          <ac:spMkLst>
            <pc:docMk/>
            <pc:sldMk cId="110819607" sldId="280"/>
            <ac:spMk id="4" creationId="{19AB4516-FD1F-4AD4-AA3A-9395F8B7A1F9}"/>
          </ac:spMkLst>
        </pc:spChg>
        <pc:spChg chg="add del">
          <ac:chgData name="Amandeep Singh" userId="192f9da3-bd5c-42c3-8f41-80b8549e6782" providerId="ADAL" clId="{F830C17E-9D64-4BEF-A194-2F47D1141FB7}" dt="2021-06-16T19:11:06.649" v="949" actId="6264"/>
          <ac:spMkLst>
            <pc:docMk/>
            <pc:sldMk cId="110819607" sldId="280"/>
            <ac:spMk id="5" creationId="{2888D0F9-982E-41FC-950B-A13CB0DBEF9C}"/>
          </ac:spMkLst>
        </pc:spChg>
        <pc:spChg chg="add del">
          <ac:chgData name="Amandeep Singh" userId="192f9da3-bd5c-42c3-8f41-80b8549e6782" providerId="ADAL" clId="{F830C17E-9D64-4BEF-A194-2F47D1141FB7}" dt="2021-06-16T19:11:06.649" v="949" actId="6264"/>
          <ac:spMkLst>
            <pc:docMk/>
            <pc:sldMk cId="110819607" sldId="280"/>
            <ac:spMk id="10" creationId="{6F5A5072-7B47-4D32-B52A-4EBBF590B8A5}"/>
          </ac:spMkLst>
        </pc:spChg>
        <pc:spChg chg="add del">
          <ac:chgData name="Amandeep Singh" userId="192f9da3-bd5c-42c3-8f41-80b8549e6782" providerId="ADAL" clId="{F830C17E-9D64-4BEF-A194-2F47D1141FB7}" dt="2021-06-16T19:11:06.649" v="949" actId="6264"/>
          <ac:spMkLst>
            <pc:docMk/>
            <pc:sldMk cId="110819607" sldId="280"/>
            <ac:spMk id="12" creationId="{9715DAF0-AE1B-46C9-8A6B-DB2AA05AB91D}"/>
          </ac:spMkLst>
        </pc:spChg>
        <pc:spChg chg="add del">
          <ac:chgData name="Amandeep Singh" userId="192f9da3-bd5c-42c3-8f41-80b8549e6782" providerId="ADAL" clId="{F830C17E-9D64-4BEF-A194-2F47D1141FB7}" dt="2021-06-16T19:11:06.649" v="949" actId="6264"/>
          <ac:spMkLst>
            <pc:docMk/>
            <pc:sldMk cId="110819607" sldId="280"/>
            <ac:spMk id="14" creationId="{6016219D-510E-4184-9090-6D5578A87BD1}"/>
          </ac:spMkLst>
        </pc:spChg>
        <pc:spChg chg="add del">
          <ac:chgData name="Amandeep Singh" userId="192f9da3-bd5c-42c3-8f41-80b8549e6782" providerId="ADAL" clId="{F830C17E-9D64-4BEF-A194-2F47D1141FB7}" dt="2021-06-16T19:11:06.649" v="949" actId="6264"/>
          <ac:spMkLst>
            <pc:docMk/>
            <pc:sldMk cId="110819607" sldId="280"/>
            <ac:spMk id="16" creationId="{AFF4A713-7B75-4B21-90D7-5AB19547C728}"/>
          </ac:spMkLst>
        </pc:spChg>
        <pc:spChg chg="add del">
          <ac:chgData name="Amandeep Singh" userId="192f9da3-bd5c-42c3-8f41-80b8549e6782" providerId="ADAL" clId="{F830C17E-9D64-4BEF-A194-2F47D1141FB7}" dt="2021-06-16T19:11:06.649" v="949" actId="6264"/>
          <ac:spMkLst>
            <pc:docMk/>
            <pc:sldMk cId="110819607" sldId="280"/>
            <ac:spMk id="18" creationId="{DC631C0B-6DA6-4E57-8231-CE32B3434A7E}"/>
          </ac:spMkLst>
        </pc:spChg>
        <pc:spChg chg="add del">
          <ac:chgData name="Amandeep Singh" userId="192f9da3-bd5c-42c3-8f41-80b8549e6782" providerId="ADAL" clId="{F830C17E-9D64-4BEF-A194-2F47D1141FB7}" dt="2021-06-16T19:11:06.649" v="949" actId="6264"/>
          <ac:spMkLst>
            <pc:docMk/>
            <pc:sldMk cId="110819607" sldId="280"/>
            <ac:spMk id="20" creationId="{C29501E6-A978-4A61-9689-9085AF97A53A}"/>
          </ac:spMkLst>
        </pc:spChg>
      </pc:sldChg>
      <pc:sldChg chg="add del">
        <pc:chgData name="Amandeep Singh" userId="192f9da3-bd5c-42c3-8f41-80b8549e6782" providerId="ADAL" clId="{F830C17E-9D64-4BEF-A194-2F47D1141FB7}" dt="2021-06-16T19:10:49.908" v="943" actId="47"/>
        <pc:sldMkLst>
          <pc:docMk/>
          <pc:sldMk cId="3306160186" sldId="280"/>
        </pc:sldMkLst>
      </pc:sldChg>
      <pc:sldChg chg="addSp delSp modSp new mod">
        <pc:chgData name="Amandeep Singh" userId="192f9da3-bd5c-42c3-8f41-80b8549e6782" providerId="ADAL" clId="{F830C17E-9D64-4BEF-A194-2F47D1141FB7}" dt="2021-06-16T19:47:08.601" v="1317" actId="1076"/>
        <pc:sldMkLst>
          <pc:docMk/>
          <pc:sldMk cId="1490412316" sldId="281"/>
        </pc:sldMkLst>
        <pc:spChg chg="del">
          <ac:chgData name="Amandeep Singh" userId="192f9da3-bd5c-42c3-8f41-80b8549e6782" providerId="ADAL" clId="{F830C17E-9D64-4BEF-A194-2F47D1141FB7}" dt="2021-06-16T19:11:25.472" v="981" actId="478"/>
          <ac:spMkLst>
            <pc:docMk/>
            <pc:sldMk cId="1490412316" sldId="281"/>
            <ac:spMk id="2" creationId="{F090BA52-3508-4998-86D4-48BE09F0C05E}"/>
          </ac:spMkLst>
        </pc:spChg>
        <pc:spChg chg="del">
          <ac:chgData name="Amandeep Singh" userId="192f9da3-bd5c-42c3-8f41-80b8549e6782" providerId="ADAL" clId="{F830C17E-9D64-4BEF-A194-2F47D1141FB7}" dt="2021-06-16T19:11:26.585" v="982" actId="478"/>
          <ac:spMkLst>
            <pc:docMk/>
            <pc:sldMk cId="1490412316" sldId="281"/>
            <ac:spMk id="3" creationId="{A443B01D-56AE-42E1-8454-DE7E77A9EE5C}"/>
          </ac:spMkLst>
        </pc:spChg>
        <pc:spChg chg="add mod">
          <ac:chgData name="Amandeep Singh" userId="192f9da3-bd5c-42c3-8f41-80b8549e6782" providerId="ADAL" clId="{F830C17E-9D64-4BEF-A194-2F47D1141FB7}" dt="2021-06-16T19:15:54.109" v="1012" actId="108"/>
          <ac:spMkLst>
            <pc:docMk/>
            <pc:sldMk cId="1490412316" sldId="281"/>
            <ac:spMk id="5" creationId="{29710061-F1A4-4130-9303-247FD83C9308}"/>
          </ac:spMkLst>
        </pc:spChg>
        <pc:spChg chg="add mod">
          <ac:chgData name="Amandeep Singh" userId="192f9da3-bd5c-42c3-8f41-80b8549e6782" providerId="ADAL" clId="{F830C17E-9D64-4BEF-A194-2F47D1141FB7}" dt="2021-06-16T19:47:05.858" v="1316" actId="1076"/>
          <ac:spMkLst>
            <pc:docMk/>
            <pc:sldMk cId="1490412316" sldId="281"/>
            <ac:spMk id="6" creationId="{7E56D710-675C-4B56-93C3-027B9B5752F2}"/>
          </ac:spMkLst>
        </pc:spChg>
        <pc:spChg chg="mod">
          <ac:chgData name="Amandeep Singh" userId="192f9da3-bd5c-42c3-8f41-80b8549e6782" providerId="ADAL" clId="{F830C17E-9D64-4BEF-A194-2F47D1141FB7}" dt="2021-06-16T19:45:35.212" v="1305" actId="108"/>
          <ac:spMkLst>
            <pc:docMk/>
            <pc:sldMk cId="1490412316" sldId="281"/>
            <ac:spMk id="8" creationId="{424A2275-3E5A-4692-96DE-6A17749D6E2B}"/>
          </ac:spMkLst>
        </pc:spChg>
        <pc:spChg chg="mod">
          <ac:chgData name="Amandeep Singh" userId="192f9da3-bd5c-42c3-8f41-80b8549e6782" providerId="ADAL" clId="{F830C17E-9D64-4BEF-A194-2F47D1141FB7}" dt="2021-06-16T19:45:44.911" v="1306" actId="207"/>
          <ac:spMkLst>
            <pc:docMk/>
            <pc:sldMk cId="1490412316" sldId="281"/>
            <ac:spMk id="9" creationId="{C97D61D3-BD0C-4E9F-BDD2-AFE7DDED3F69}"/>
          </ac:spMkLst>
        </pc:spChg>
        <pc:spChg chg="mod">
          <ac:chgData name="Amandeep Singh" userId="192f9da3-bd5c-42c3-8f41-80b8549e6782" providerId="ADAL" clId="{F830C17E-9D64-4BEF-A194-2F47D1141FB7}" dt="2021-06-16T19:45:14.690" v="1300" actId="108"/>
          <ac:spMkLst>
            <pc:docMk/>
            <pc:sldMk cId="1490412316" sldId="281"/>
            <ac:spMk id="10" creationId="{3137728B-B6FA-462B-BE76-72637452AAFF}"/>
          </ac:spMkLst>
        </pc:spChg>
        <pc:spChg chg="mod">
          <ac:chgData name="Amandeep Singh" userId="192f9da3-bd5c-42c3-8f41-80b8549e6782" providerId="ADAL" clId="{F830C17E-9D64-4BEF-A194-2F47D1141FB7}" dt="2021-06-16T19:45:11.793" v="1299" actId="14100"/>
          <ac:spMkLst>
            <pc:docMk/>
            <pc:sldMk cId="1490412316" sldId="281"/>
            <ac:spMk id="11" creationId="{BFAC00E5-AD82-427D-9D0C-3842AA5D7270}"/>
          </ac:spMkLst>
        </pc:spChg>
        <pc:grpChg chg="add mod">
          <ac:chgData name="Amandeep Singh" userId="192f9da3-bd5c-42c3-8f41-80b8549e6782" providerId="ADAL" clId="{F830C17E-9D64-4BEF-A194-2F47D1141FB7}" dt="2021-06-16T19:47:02.128" v="1315" actId="14100"/>
          <ac:grpSpMkLst>
            <pc:docMk/>
            <pc:sldMk cId="1490412316" sldId="281"/>
            <ac:grpSpMk id="7" creationId="{3FECE3F6-CA73-4957-A6E4-433EE9B06BE0}"/>
          </ac:grpSpMkLst>
        </pc:grpChg>
        <pc:graphicFrameChg chg="add mod">
          <ac:chgData name="Amandeep Singh" userId="192f9da3-bd5c-42c3-8f41-80b8549e6782" providerId="ADAL" clId="{F830C17E-9D64-4BEF-A194-2F47D1141FB7}" dt="2021-06-16T19:47:08.601" v="1317" actId="1076"/>
          <ac:graphicFrameMkLst>
            <pc:docMk/>
            <pc:sldMk cId="1490412316" sldId="281"/>
            <ac:graphicFrameMk id="12" creationId="{C7B6A1C5-CD8C-4380-A6B9-2306B5538368}"/>
          </ac:graphicFrameMkLst>
        </pc:graphicFrameChg>
      </pc:sldChg>
      <pc:sldChg chg="addSp delSp modSp new mod">
        <pc:chgData name="Amandeep Singh" userId="192f9da3-bd5c-42c3-8f41-80b8549e6782" providerId="ADAL" clId="{F830C17E-9D64-4BEF-A194-2F47D1141FB7}" dt="2021-06-16T19:47:46.693" v="1324" actId="108"/>
        <pc:sldMkLst>
          <pc:docMk/>
          <pc:sldMk cId="3078349378" sldId="282"/>
        </pc:sldMkLst>
        <pc:spChg chg="del">
          <ac:chgData name="Amandeep Singh" userId="192f9da3-bd5c-42c3-8f41-80b8549e6782" providerId="ADAL" clId="{F830C17E-9D64-4BEF-A194-2F47D1141FB7}" dt="2021-06-16T19:12:15.120" v="986" actId="478"/>
          <ac:spMkLst>
            <pc:docMk/>
            <pc:sldMk cId="3078349378" sldId="282"/>
            <ac:spMk id="2" creationId="{571FA5D5-3492-4218-9820-5B2B3DE88D3A}"/>
          </ac:spMkLst>
        </pc:spChg>
        <pc:spChg chg="del">
          <ac:chgData name="Amandeep Singh" userId="192f9da3-bd5c-42c3-8f41-80b8549e6782" providerId="ADAL" clId="{F830C17E-9D64-4BEF-A194-2F47D1141FB7}" dt="2021-06-16T19:12:15.981" v="987" actId="478"/>
          <ac:spMkLst>
            <pc:docMk/>
            <pc:sldMk cId="3078349378" sldId="282"/>
            <ac:spMk id="3" creationId="{1D5C1BF4-405D-49C4-BA21-6C89DA05B6F9}"/>
          </ac:spMkLst>
        </pc:spChg>
        <pc:spChg chg="add mod">
          <ac:chgData name="Amandeep Singh" userId="192f9da3-bd5c-42c3-8f41-80b8549e6782" providerId="ADAL" clId="{F830C17E-9D64-4BEF-A194-2F47D1141FB7}" dt="2021-06-16T19:16:22.816" v="1017" actId="1076"/>
          <ac:spMkLst>
            <pc:docMk/>
            <pc:sldMk cId="3078349378" sldId="282"/>
            <ac:spMk id="5" creationId="{CACE43E4-B830-4938-8C07-F2D4C24FD6CE}"/>
          </ac:spMkLst>
        </pc:spChg>
        <pc:spChg chg="add mod">
          <ac:chgData name="Amandeep Singh" userId="192f9da3-bd5c-42c3-8f41-80b8549e6782" providerId="ADAL" clId="{F830C17E-9D64-4BEF-A194-2F47D1141FB7}" dt="2021-06-16T19:12:31.734" v="989"/>
          <ac:spMkLst>
            <pc:docMk/>
            <pc:sldMk cId="3078349378" sldId="282"/>
            <ac:spMk id="6" creationId="{12F6CE97-3662-4210-A19B-EBB484D351C2}"/>
          </ac:spMkLst>
        </pc:spChg>
        <pc:spChg chg="mod">
          <ac:chgData name="Amandeep Singh" userId="192f9da3-bd5c-42c3-8f41-80b8549e6782" providerId="ADAL" clId="{F830C17E-9D64-4BEF-A194-2F47D1141FB7}" dt="2021-06-16T19:46:38.276" v="1314" actId="108"/>
          <ac:spMkLst>
            <pc:docMk/>
            <pc:sldMk cId="3078349378" sldId="282"/>
            <ac:spMk id="8" creationId="{B511914B-685E-495B-86E3-F510CC96B735}"/>
          </ac:spMkLst>
        </pc:spChg>
        <pc:spChg chg="mod">
          <ac:chgData name="Amandeep Singh" userId="192f9da3-bd5c-42c3-8f41-80b8549e6782" providerId="ADAL" clId="{F830C17E-9D64-4BEF-A194-2F47D1141FB7}" dt="2021-06-16T19:46:31.856" v="1313" actId="108"/>
          <ac:spMkLst>
            <pc:docMk/>
            <pc:sldMk cId="3078349378" sldId="282"/>
            <ac:spMk id="9" creationId="{A286F844-8C37-4897-8F3C-996B20E3AD5E}"/>
          </ac:spMkLst>
        </pc:spChg>
        <pc:spChg chg="mod">
          <ac:chgData name="Amandeep Singh" userId="192f9da3-bd5c-42c3-8f41-80b8549e6782" providerId="ADAL" clId="{F830C17E-9D64-4BEF-A194-2F47D1141FB7}" dt="2021-06-16T19:46:31.856" v="1313" actId="108"/>
          <ac:spMkLst>
            <pc:docMk/>
            <pc:sldMk cId="3078349378" sldId="282"/>
            <ac:spMk id="10" creationId="{A65E9BEF-719D-4A7A-A616-A656F044E1FB}"/>
          </ac:spMkLst>
        </pc:spChg>
        <pc:spChg chg="mod">
          <ac:chgData name="Amandeep Singh" userId="192f9da3-bd5c-42c3-8f41-80b8549e6782" providerId="ADAL" clId="{F830C17E-9D64-4BEF-A194-2F47D1141FB7}" dt="2021-06-16T19:46:31.856" v="1313" actId="108"/>
          <ac:spMkLst>
            <pc:docMk/>
            <pc:sldMk cId="3078349378" sldId="282"/>
            <ac:spMk id="11" creationId="{336835D9-8086-43B8-980C-DEC1498DFDC3}"/>
          </ac:spMkLst>
        </pc:spChg>
        <pc:spChg chg="mod">
          <ac:chgData name="Amandeep Singh" userId="192f9da3-bd5c-42c3-8f41-80b8549e6782" providerId="ADAL" clId="{F830C17E-9D64-4BEF-A194-2F47D1141FB7}" dt="2021-06-16T19:47:24.633" v="1319"/>
          <ac:spMkLst>
            <pc:docMk/>
            <pc:sldMk cId="3078349378" sldId="282"/>
            <ac:spMk id="14" creationId="{95C00E1D-DB09-45A7-A916-534982AD2D97}"/>
          </ac:spMkLst>
        </pc:spChg>
        <pc:spChg chg="mod">
          <ac:chgData name="Amandeep Singh" userId="192f9da3-bd5c-42c3-8f41-80b8549e6782" providerId="ADAL" clId="{F830C17E-9D64-4BEF-A194-2F47D1141FB7}" dt="2021-06-16T19:47:46.693" v="1324" actId="108"/>
          <ac:spMkLst>
            <pc:docMk/>
            <pc:sldMk cId="3078349378" sldId="282"/>
            <ac:spMk id="15" creationId="{9C0FC799-1163-4C05-ACFA-D6B85951765D}"/>
          </ac:spMkLst>
        </pc:spChg>
        <pc:spChg chg="mod">
          <ac:chgData name="Amandeep Singh" userId="192f9da3-bd5c-42c3-8f41-80b8549e6782" providerId="ADAL" clId="{F830C17E-9D64-4BEF-A194-2F47D1141FB7}" dt="2021-06-16T19:47:43.282" v="1323" actId="108"/>
          <ac:spMkLst>
            <pc:docMk/>
            <pc:sldMk cId="3078349378" sldId="282"/>
            <ac:spMk id="16" creationId="{497F2237-B39A-4E05-96E6-9FBAF6AF6475}"/>
          </ac:spMkLst>
        </pc:spChg>
        <pc:spChg chg="mod">
          <ac:chgData name="Amandeep Singh" userId="192f9da3-bd5c-42c3-8f41-80b8549e6782" providerId="ADAL" clId="{F830C17E-9D64-4BEF-A194-2F47D1141FB7}" dt="2021-06-16T19:47:37.435" v="1322" actId="108"/>
          <ac:spMkLst>
            <pc:docMk/>
            <pc:sldMk cId="3078349378" sldId="282"/>
            <ac:spMk id="17" creationId="{4732E39E-7289-4009-AD45-4C4C8AEDDBC1}"/>
          </ac:spMkLst>
        </pc:spChg>
        <pc:grpChg chg="add del mod">
          <ac:chgData name="Amandeep Singh" userId="192f9da3-bd5c-42c3-8f41-80b8549e6782" providerId="ADAL" clId="{F830C17E-9D64-4BEF-A194-2F47D1141FB7}" dt="2021-06-16T19:47:20.411" v="1318" actId="478"/>
          <ac:grpSpMkLst>
            <pc:docMk/>
            <pc:sldMk cId="3078349378" sldId="282"/>
            <ac:grpSpMk id="7" creationId="{4ECD41C4-CF69-47E7-85D4-C68931285450}"/>
          </ac:grpSpMkLst>
        </pc:grpChg>
        <pc:grpChg chg="add mod">
          <ac:chgData name="Amandeep Singh" userId="192f9da3-bd5c-42c3-8f41-80b8549e6782" providerId="ADAL" clId="{F830C17E-9D64-4BEF-A194-2F47D1141FB7}" dt="2021-06-16T19:47:32.470" v="1320" actId="1076"/>
          <ac:grpSpMkLst>
            <pc:docMk/>
            <pc:sldMk cId="3078349378" sldId="282"/>
            <ac:grpSpMk id="13" creationId="{7A8B0382-F5E9-434F-B2C7-1A817B964BC4}"/>
          </ac:grpSpMkLst>
        </pc:grpChg>
        <pc:graphicFrameChg chg="add mod">
          <ac:chgData name="Amandeep Singh" userId="192f9da3-bd5c-42c3-8f41-80b8549e6782" providerId="ADAL" clId="{F830C17E-9D64-4BEF-A194-2F47D1141FB7}" dt="2021-06-16T19:12:31.734" v="989"/>
          <ac:graphicFrameMkLst>
            <pc:docMk/>
            <pc:sldMk cId="3078349378" sldId="282"/>
            <ac:graphicFrameMk id="12" creationId="{4E28B77D-3863-44D1-B830-BB1BFECE7A7E}"/>
          </ac:graphicFrameMkLst>
        </pc:graphicFrameChg>
      </pc:sldChg>
      <pc:sldChg chg="addSp delSp modSp new mod">
        <pc:chgData name="Amandeep Singh" userId="192f9da3-bd5c-42c3-8f41-80b8549e6782" providerId="ADAL" clId="{F830C17E-9D64-4BEF-A194-2F47D1141FB7}" dt="2021-06-16T19:48:01.430" v="1327" actId="1076"/>
        <pc:sldMkLst>
          <pc:docMk/>
          <pc:sldMk cId="2495217134" sldId="283"/>
        </pc:sldMkLst>
        <pc:spChg chg="del">
          <ac:chgData name="Amandeep Singh" userId="192f9da3-bd5c-42c3-8f41-80b8549e6782" providerId="ADAL" clId="{F830C17E-9D64-4BEF-A194-2F47D1141FB7}" dt="2021-06-16T19:12:43.227" v="991" actId="478"/>
          <ac:spMkLst>
            <pc:docMk/>
            <pc:sldMk cId="2495217134" sldId="283"/>
            <ac:spMk id="2" creationId="{9F1A872F-2B4F-487B-9AFA-E2D8A529E303}"/>
          </ac:spMkLst>
        </pc:spChg>
        <pc:spChg chg="del">
          <ac:chgData name="Amandeep Singh" userId="192f9da3-bd5c-42c3-8f41-80b8549e6782" providerId="ADAL" clId="{F830C17E-9D64-4BEF-A194-2F47D1141FB7}" dt="2021-06-16T19:12:44.544" v="992" actId="478"/>
          <ac:spMkLst>
            <pc:docMk/>
            <pc:sldMk cId="2495217134" sldId="283"/>
            <ac:spMk id="3" creationId="{31989815-2FB3-41E5-8842-851023B74F10}"/>
          </ac:spMkLst>
        </pc:spChg>
        <pc:spChg chg="add mod">
          <ac:chgData name="Amandeep Singh" userId="192f9da3-bd5c-42c3-8f41-80b8549e6782" providerId="ADAL" clId="{F830C17E-9D64-4BEF-A194-2F47D1141FB7}" dt="2021-06-16T19:16:41.765" v="1021" actId="1076"/>
          <ac:spMkLst>
            <pc:docMk/>
            <pc:sldMk cId="2495217134" sldId="283"/>
            <ac:spMk id="5" creationId="{66638E1A-6BB2-432A-8D7F-87E585D79995}"/>
          </ac:spMkLst>
        </pc:spChg>
        <pc:spChg chg="add mod">
          <ac:chgData name="Amandeep Singh" userId="192f9da3-bd5c-42c3-8f41-80b8549e6782" providerId="ADAL" clId="{F830C17E-9D64-4BEF-A194-2F47D1141FB7}" dt="2021-06-16T19:48:01.430" v="1327" actId="1076"/>
          <ac:spMkLst>
            <pc:docMk/>
            <pc:sldMk cId="2495217134" sldId="283"/>
            <ac:spMk id="6" creationId="{D5655D5C-BE66-4A4A-8E5D-CFD421FA20B7}"/>
          </ac:spMkLst>
        </pc:spChg>
        <pc:spChg chg="mod">
          <ac:chgData name="Amandeep Singh" userId="192f9da3-bd5c-42c3-8f41-80b8549e6782" providerId="ADAL" clId="{F830C17E-9D64-4BEF-A194-2F47D1141FB7}" dt="2021-06-16T19:13:09.087" v="994"/>
          <ac:spMkLst>
            <pc:docMk/>
            <pc:sldMk cId="2495217134" sldId="283"/>
            <ac:spMk id="8" creationId="{675A1A20-41D1-44A1-B86B-9993B989DFDF}"/>
          </ac:spMkLst>
        </pc:spChg>
        <pc:spChg chg="mod">
          <ac:chgData name="Amandeep Singh" userId="192f9da3-bd5c-42c3-8f41-80b8549e6782" providerId="ADAL" clId="{F830C17E-9D64-4BEF-A194-2F47D1141FB7}" dt="2021-06-16T19:13:09.087" v="994"/>
          <ac:spMkLst>
            <pc:docMk/>
            <pc:sldMk cId="2495217134" sldId="283"/>
            <ac:spMk id="9" creationId="{ECBB5971-EC41-471B-9A02-B063FE50D3BD}"/>
          </ac:spMkLst>
        </pc:spChg>
        <pc:spChg chg="mod">
          <ac:chgData name="Amandeep Singh" userId="192f9da3-bd5c-42c3-8f41-80b8549e6782" providerId="ADAL" clId="{F830C17E-9D64-4BEF-A194-2F47D1141FB7}" dt="2021-06-16T19:13:09.087" v="994"/>
          <ac:spMkLst>
            <pc:docMk/>
            <pc:sldMk cId="2495217134" sldId="283"/>
            <ac:spMk id="10" creationId="{819478EC-FC58-480B-94BC-D1645806BADF}"/>
          </ac:spMkLst>
        </pc:spChg>
        <pc:spChg chg="mod">
          <ac:chgData name="Amandeep Singh" userId="192f9da3-bd5c-42c3-8f41-80b8549e6782" providerId="ADAL" clId="{F830C17E-9D64-4BEF-A194-2F47D1141FB7}" dt="2021-06-16T19:13:09.087" v="994"/>
          <ac:spMkLst>
            <pc:docMk/>
            <pc:sldMk cId="2495217134" sldId="283"/>
            <ac:spMk id="11" creationId="{E68B30CA-A7C0-4349-9855-D5138D7FF5A3}"/>
          </ac:spMkLst>
        </pc:spChg>
        <pc:spChg chg="mod">
          <ac:chgData name="Amandeep Singh" userId="192f9da3-bd5c-42c3-8f41-80b8549e6782" providerId="ADAL" clId="{F830C17E-9D64-4BEF-A194-2F47D1141FB7}" dt="2021-06-16T19:47:57.880" v="1326"/>
          <ac:spMkLst>
            <pc:docMk/>
            <pc:sldMk cId="2495217134" sldId="283"/>
            <ac:spMk id="14" creationId="{6968B60C-75BA-4A0A-9A9B-1A50AAE9920A}"/>
          </ac:spMkLst>
        </pc:spChg>
        <pc:spChg chg="mod">
          <ac:chgData name="Amandeep Singh" userId="192f9da3-bd5c-42c3-8f41-80b8549e6782" providerId="ADAL" clId="{F830C17E-9D64-4BEF-A194-2F47D1141FB7}" dt="2021-06-16T19:47:57.880" v="1326"/>
          <ac:spMkLst>
            <pc:docMk/>
            <pc:sldMk cId="2495217134" sldId="283"/>
            <ac:spMk id="15" creationId="{7705CE36-10AC-40C1-AC4B-672E5C811A11}"/>
          </ac:spMkLst>
        </pc:spChg>
        <pc:spChg chg="mod">
          <ac:chgData name="Amandeep Singh" userId="192f9da3-bd5c-42c3-8f41-80b8549e6782" providerId="ADAL" clId="{F830C17E-9D64-4BEF-A194-2F47D1141FB7}" dt="2021-06-16T19:47:57.880" v="1326"/>
          <ac:spMkLst>
            <pc:docMk/>
            <pc:sldMk cId="2495217134" sldId="283"/>
            <ac:spMk id="16" creationId="{B6230CB6-70E9-4799-A8CB-64F4DD86769E}"/>
          </ac:spMkLst>
        </pc:spChg>
        <pc:spChg chg="mod">
          <ac:chgData name="Amandeep Singh" userId="192f9da3-bd5c-42c3-8f41-80b8549e6782" providerId="ADAL" clId="{F830C17E-9D64-4BEF-A194-2F47D1141FB7}" dt="2021-06-16T19:47:57.880" v="1326"/>
          <ac:spMkLst>
            <pc:docMk/>
            <pc:sldMk cId="2495217134" sldId="283"/>
            <ac:spMk id="17" creationId="{62E9B5A5-E72F-4E47-ADB1-3DED270C852B}"/>
          </ac:spMkLst>
        </pc:spChg>
        <pc:grpChg chg="add del mod">
          <ac:chgData name="Amandeep Singh" userId="192f9da3-bd5c-42c3-8f41-80b8549e6782" providerId="ADAL" clId="{F830C17E-9D64-4BEF-A194-2F47D1141FB7}" dt="2021-06-16T19:47:57.393" v="1325" actId="478"/>
          <ac:grpSpMkLst>
            <pc:docMk/>
            <pc:sldMk cId="2495217134" sldId="283"/>
            <ac:grpSpMk id="7" creationId="{2BB16E09-ECDD-4DA1-8F25-CD651149B4BD}"/>
          </ac:grpSpMkLst>
        </pc:grpChg>
        <pc:grpChg chg="add mod">
          <ac:chgData name="Amandeep Singh" userId="192f9da3-bd5c-42c3-8f41-80b8549e6782" providerId="ADAL" clId="{F830C17E-9D64-4BEF-A194-2F47D1141FB7}" dt="2021-06-16T19:47:57.880" v="1326"/>
          <ac:grpSpMkLst>
            <pc:docMk/>
            <pc:sldMk cId="2495217134" sldId="283"/>
            <ac:grpSpMk id="13" creationId="{048F79F7-C2CF-40D9-9F97-1DF0A7EBF9F7}"/>
          </ac:grpSpMkLst>
        </pc:grpChg>
        <pc:graphicFrameChg chg="add mod">
          <ac:chgData name="Amandeep Singh" userId="192f9da3-bd5c-42c3-8f41-80b8549e6782" providerId="ADAL" clId="{F830C17E-9D64-4BEF-A194-2F47D1141FB7}" dt="2021-06-16T19:13:09.087" v="994"/>
          <ac:graphicFrameMkLst>
            <pc:docMk/>
            <pc:sldMk cId="2495217134" sldId="283"/>
            <ac:graphicFrameMk id="12" creationId="{08C699BB-26CB-43F4-9FA2-78E4908C9A81}"/>
          </ac:graphicFrameMkLst>
        </pc:graphicFrameChg>
      </pc:sldChg>
      <pc:sldChg chg="addSp delSp modSp new mod">
        <pc:chgData name="Amandeep Singh" userId="192f9da3-bd5c-42c3-8f41-80b8549e6782" providerId="ADAL" clId="{F830C17E-9D64-4BEF-A194-2F47D1141FB7}" dt="2021-06-16T19:48:22.715" v="1332" actId="108"/>
        <pc:sldMkLst>
          <pc:docMk/>
          <pc:sldMk cId="3920525067" sldId="284"/>
        </pc:sldMkLst>
        <pc:spChg chg="del">
          <ac:chgData name="Amandeep Singh" userId="192f9da3-bd5c-42c3-8f41-80b8549e6782" providerId="ADAL" clId="{F830C17E-9D64-4BEF-A194-2F47D1141FB7}" dt="2021-06-16T19:13:27.657" v="997" actId="478"/>
          <ac:spMkLst>
            <pc:docMk/>
            <pc:sldMk cId="3920525067" sldId="284"/>
            <ac:spMk id="2" creationId="{9ECBDECD-7814-4C85-BC33-9373B01B7610}"/>
          </ac:spMkLst>
        </pc:spChg>
        <pc:spChg chg="del">
          <ac:chgData name="Amandeep Singh" userId="192f9da3-bd5c-42c3-8f41-80b8549e6782" providerId="ADAL" clId="{F830C17E-9D64-4BEF-A194-2F47D1141FB7}" dt="2021-06-16T19:13:24.243" v="996" actId="478"/>
          <ac:spMkLst>
            <pc:docMk/>
            <pc:sldMk cId="3920525067" sldId="284"/>
            <ac:spMk id="3" creationId="{2338E25B-C506-43B0-807B-84A06F966C8C}"/>
          </ac:spMkLst>
        </pc:spChg>
        <pc:spChg chg="add mod">
          <ac:chgData name="Amandeep Singh" userId="192f9da3-bd5c-42c3-8f41-80b8549e6782" providerId="ADAL" clId="{F830C17E-9D64-4BEF-A194-2F47D1141FB7}" dt="2021-06-16T19:16:59.420" v="1024" actId="1076"/>
          <ac:spMkLst>
            <pc:docMk/>
            <pc:sldMk cId="3920525067" sldId="284"/>
            <ac:spMk id="5" creationId="{5A245BF7-96FB-4603-A615-AE366E02091F}"/>
          </ac:spMkLst>
        </pc:spChg>
        <pc:spChg chg="add mod">
          <ac:chgData name="Amandeep Singh" userId="192f9da3-bd5c-42c3-8f41-80b8549e6782" providerId="ADAL" clId="{F830C17E-9D64-4BEF-A194-2F47D1141FB7}" dt="2021-06-16T19:13:46.915" v="999"/>
          <ac:spMkLst>
            <pc:docMk/>
            <pc:sldMk cId="3920525067" sldId="284"/>
            <ac:spMk id="6" creationId="{78E70F60-BE61-479D-A0CE-C20D8391935B}"/>
          </ac:spMkLst>
        </pc:spChg>
        <pc:spChg chg="mod">
          <ac:chgData name="Amandeep Singh" userId="192f9da3-bd5c-42c3-8f41-80b8549e6782" providerId="ADAL" clId="{F830C17E-9D64-4BEF-A194-2F47D1141FB7}" dt="2021-06-16T19:13:46.915" v="999"/>
          <ac:spMkLst>
            <pc:docMk/>
            <pc:sldMk cId="3920525067" sldId="284"/>
            <ac:spMk id="8" creationId="{ECF28435-7028-4A06-B7DB-ABBEC76F2BA7}"/>
          </ac:spMkLst>
        </pc:spChg>
        <pc:spChg chg="mod">
          <ac:chgData name="Amandeep Singh" userId="192f9da3-bd5c-42c3-8f41-80b8549e6782" providerId="ADAL" clId="{F830C17E-9D64-4BEF-A194-2F47D1141FB7}" dt="2021-06-16T19:13:46.915" v="999"/>
          <ac:spMkLst>
            <pc:docMk/>
            <pc:sldMk cId="3920525067" sldId="284"/>
            <ac:spMk id="9" creationId="{351E40A6-21AD-48FC-9CAF-DB65CADD0906}"/>
          </ac:spMkLst>
        </pc:spChg>
        <pc:spChg chg="mod">
          <ac:chgData name="Amandeep Singh" userId="192f9da3-bd5c-42c3-8f41-80b8549e6782" providerId="ADAL" clId="{F830C17E-9D64-4BEF-A194-2F47D1141FB7}" dt="2021-06-16T19:13:46.915" v="999"/>
          <ac:spMkLst>
            <pc:docMk/>
            <pc:sldMk cId="3920525067" sldId="284"/>
            <ac:spMk id="10" creationId="{80082A69-5E47-4275-8545-F388BED294F0}"/>
          </ac:spMkLst>
        </pc:spChg>
        <pc:spChg chg="mod">
          <ac:chgData name="Amandeep Singh" userId="192f9da3-bd5c-42c3-8f41-80b8549e6782" providerId="ADAL" clId="{F830C17E-9D64-4BEF-A194-2F47D1141FB7}" dt="2021-06-16T19:13:46.915" v="999"/>
          <ac:spMkLst>
            <pc:docMk/>
            <pc:sldMk cId="3920525067" sldId="284"/>
            <ac:spMk id="11" creationId="{831F63A9-259D-446B-92CB-89B9ABFC1B7A}"/>
          </ac:spMkLst>
        </pc:spChg>
        <pc:spChg chg="mod">
          <ac:chgData name="Amandeep Singh" userId="192f9da3-bd5c-42c3-8f41-80b8549e6782" providerId="ADAL" clId="{F830C17E-9D64-4BEF-A194-2F47D1141FB7}" dt="2021-06-16T19:48:10.907" v="1329"/>
          <ac:spMkLst>
            <pc:docMk/>
            <pc:sldMk cId="3920525067" sldId="284"/>
            <ac:spMk id="14" creationId="{58B2E0E2-3F0B-4647-8E67-51D0061B465F}"/>
          </ac:spMkLst>
        </pc:spChg>
        <pc:spChg chg="mod">
          <ac:chgData name="Amandeep Singh" userId="192f9da3-bd5c-42c3-8f41-80b8549e6782" providerId="ADAL" clId="{F830C17E-9D64-4BEF-A194-2F47D1141FB7}" dt="2021-06-16T19:48:10.907" v="1329"/>
          <ac:spMkLst>
            <pc:docMk/>
            <pc:sldMk cId="3920525067" sldId="284"/>
            <ac:spMk id="15" creationId="{D9BEA189-6C62-41B1-AE10-0475418C20E4}"/>
          </ac:spMkLst>
        </pc:spChg>
        <pc:spChg chg="mod">
          <ac:chgData name="Amandeep Singh" userId="192f9da3-bd5c-42c3-8f41-80b8549e6782" providerId="ADAL" clId="{F830C17E-9D64-4BEF-A194-2F47D1141FB7}" dt="2021-06-16T19:48:22.715" v="1332" actId="108"/>
          <ac:spMkLst>
            <pc:docMk/>
            <pc:sldMk cId="3920525067" sldId="284"/>
            <ac:spMk id="16" creationId="{AF980030-8DEA-4F83-A23C-C4ED997AABFA}"/>
          </ac:spMkLst>
        </pc:spChg>
        <pc:spChg chg="mod">
          <ac:chgData name="Amandeep Singh" userId="192f9da3-bd5c-42c3-8f41-80b8549e6782" providerId="ADAL" clId="{F830C17E-9D64-4BEF-A194-2F47D1141FB7}" dt="2021-06-16T19:48:17.481" v="1331" actId="108"/>
          <ac:spMkLst>
            <pc:docMk/>
            <pc:sldMk cId="3920525067" sldId="284"/>
            <ac:spMk id="17" creationId="{C1247848-C26F-4DAD-B698-EE6D8354F7EA}"/>
          </ac:spMkLst>
        </pc:spChg>
        <pc:grpChg chg="add del mod">
          <ac:chgData name="Amandeep Singh" userId="192f9da3-bd5c-42c3-8f41-80b8549e6782" providerId="ADAL" clId="{F830C17E-9D64-4BEF-A194-2F47D1141FB7}" dt="2021-06-16T19:48:07.477" v="1328" actId="478"/>
          <ac:grpSpMkLst>
            <pc:docMk/>
            <pc:sldMk cId="3920525067" sldId="284"/>
            <ac:grpSpMk id="7" creationId="{6C25F185-C889-47CA-8771-DEAA11F4982F}"/>
          </ac:grpSpMkLst>
        </pc:grpChg>
        <pc:grpChg chg="add mod">
          <ac:chgData name="Amandeep Singh" userId="192f9da3-bd5c-42c3-8f41-80b8549e6782" providerId="ADAL" clId="{F830C17E-9D64-4BEF-A194-2F47D1141FB7}" dt="2021-06-16T19:48:14.058" v="1330" actId="1076"/>
          <ac:grpSpMkLst>
            <pc:docMk/>
            <pc:sldMk cId="3920525067" sldId="284"/>
            <ac:grpSpMk id="13" creationId="{3220C715-92CE-4F23-8A9D-D776A8955EFA}"/>
          </ac:grpSpMkLst>
        </pc:grpChg>
        <pc:graphicFrameChg chg="add mod">
          <ac:chgData name="Amandeep Singh" userId="192f9da3-bd5c-42c3-8f41-80b8549e6782" providerId="ADAL" clId="{F830C17E-9D64-4BEF-A194-2F47D1141FB7}" dt="2021-06-16T19:13:46.915" v="999"/>
          <ac:graphicFrameMkLst>
            <pc:docMk/>
            <pc:sldMk cId="3920525067" sldId="284"/>
            <ac:graphicFrameMk id="12" creationId="{435DFBEA-92D4-4CB4-9456-B152244175A5}"/>
          </ac:graphicFrameMkLst>
        </pc:graphicFrameChg>
      </pc:sldChg>
      <pc:sldChg chg="addSp delSp modSp new mod">
        <pc:chgData name="Amandeep Singh" userId="192f9da3-bd5c-42c3-8f41-80b8549e6782" providerId="ADAL" clId="{F830C17E-9D64-4BEF-A194-2F47D1141FB7}" dt="2021-06-16T19:17:05.001" v="1025" actId="108"/>
        <pc:sldMkLst>
          <pc:docMk/>
          <pc:sldMk cId="439293611" sldId="285"/>
        </pc:sldMkLst>
        <pc:spChg chg="del">
          <ac:chgData name="Amandeep Singh" userId="192f9da3-bd5c-42c3-8f41-80b8549e6782" providerId="ADAL" clId="{F830C17E-9D64-4BEF-A194-2F47D1141FB7}" dt="2021-06-16T19:14:13.754" v="1001" actId="478"/>
          <ac:spMkLst>
            <pc:docMk/>
            <pc:sldMk cId="439293611" sldId="285"/>
            <ac:spMk id="2" creationId="{088C3DE9-D7DB-41D4-86C9-D040F7612164}"/>
          </ac:spMkLst>
        </pc:spChg>
        <pc:spChg chg="del">
          <ac:chgData name="Amandeep Singh" userId="192f9da3-bd5c-42c3-8f41-80b8549e6782" providerId="ADAL" clId="{F830C17E-9D64-4BEF-A194-2F47D1141FB7}" dt="2021-06-16T19:14:19.601" v="1003" actId="478"/>
          <ac:spMkLst>
            <pc:docMk/>
            <pc:sldMk cId="439293611" sldId="285"/>
            <ac:spMk id="3" creationId="{9BD04ED0-A974-437E-8E44-95EB0AF656A9}"/>
          </ac:spMkLst>
        </pc:spChg>
        <pc:spChg chg="add mod">
          <ac:chgData name="Amandeep Singh" userId="192f9da3-bd5c-42c3-8f41-80b8549e6782" providerId="ADAL" clId="{F830C17E-9D64-4BEF-A194-2F47D1141FB7}" dt="2021-06-16T19:17:05.001" v="1025" actId="108"/>
          <ac:spMkLst>
            <pc:docMk/>
            <pc:sldMk cId="439293611" sldId="285"/>
            <ac:spMk id="5" creationId="{80825D63-649F-4289-B623-CABD2685BF28}"/>
          </ac:spMkLst>
        </pc:spChg>
        <pc:picChg chg="add">
          <ac:chgData name="Amandeep Singh" userId="192f9da3-bd5c-42c3-8f41-80b8549e6782" providerId="ADAL" clId="{F830C17E-9D64-4BEF-A194-2F47D1141FB7}" dt="2021-06-16T19:14:26.056" v="1004" actId="22"/>
          <ac:picMkLst>
            <pc:docMk/>
            <pc:sldMk cId="439293611" sldId="285"/>
            <ac:picMk id="7" creationId="{483FBE5A-94F2-4E76-A80E-6D09854534A3}"/>
          </ac:picMkLst>
        </pc:picChg>
      </pc:sldChg>
    </pc:docChg>
  </pc:docChgLst>
  <pc:docChgLst>
    <pc:chgData name="Martin Wahl" userId="63283daa-9606-4894-9ca7-dd1cd276498a" providerId="ADAL" clId="{53F90087-CD89-472D-8A37-1870DD05D0A8}"/>
    <pc:docChg chg="undo custSel addSld delSld modSld sldOrd">
      <pc:chgData name="Martin Wahl" userId="63283daa-9606-4894-9ca7-dd1cd276498a" providerId="ADAL" clId="{53F90087-CD89-472D-8A37-1870DD05D0A8}" dt="2021-07-14T19:22:31.209" v="317" actId="20577"/>
      <pc:docMkLst>
        <pc:docMk/>
      </pc:docMkLst>
      <pc:sldChg chg="modSp mod">
        <pc:chgData name="Martin Wahl" userId="63283daa-9606-4894-9ca7-dd1cd276498a" providerId="ADAL" clId="{53F90087-CD89-472D-8A37-1870DD05D0A8}" dt="2021-07-14T19:16:22.650" v="86" actId="1076"/>
        <pc:sldMkLst>
          <pc:docMk/>
          <pc:sldMk cId="1224155370" sldId="264"/>
        </pc:sldMkLst>
        <pc:spChg chg="mod">
          <ac:chgData name="Martin Wahl" userId="63283daa-9606-4894-9ca7-dd1cd276498a" providerId="ADAL" clId="{53F90087-CD89-472D-8A37-1870DD05D0A8}" dt="2021-07-14T19:15:12.837" v="75" actId="1076"/>
          <ac:spMkLst>
            <pc:docMk/>
            <pc:sldMk cId="1224155370" sldId="264"/>
            <ac:spMk id="3" creationId="{064AC8D0-A66E-41D5-B6F4-6AC57CBE7996}"/>
          </ac:spMkLst>
        </pc:spChg>
        <pc:spChg chg="mod">
          <ac:chgData name="Martin Wahl" userId="63283daa-9606-4894-9ca7-dd1cd276498a" providerId="ADAL" clId="{53F90087-CD89-472D-8A37-1870DD05D0A8}" dt="2021-07-14T19:13:42.824" v="58" actId="14100"/>
          <ac:spMkLst>
            <pc:docMk/>
            <pc:sldMk cId="1224155370" sldId="264"/>
            <ac:spMk id="12" creationId="{D9485679-7BCB-4CCD-9890-F92083DDEA85}"/>
          </ac:spMkLst>
        </pc:spChg>
        <pc:spChg chg="mod">
          <ac:chgData name="Martin Wahl" userId="63283daa-9606-4894-9ca7-dd1cd276498a" providerId="ADAL" clId="{53F90087-CD89-472D-8A37-1870DD05D0A8}" dt="2021-07-14T19:13:39.527" v="57" actId="14100"/>
          <ac:spMkLst>
            <pc:docMk/>
            <pc:sldMk cId="1224155370" sldId="264"/>
            <ac:spMk id="15" creationId="{12534374-BCD9-487D-BA6E-1D2E5FC0884D}"/>
          </ac:spMkLst>
        </pc:spChg>
        <pc:spChg chg="mod">
          <ac:chgData name="Martin Wahl" userId="63283daa-9606-4894-9ca7-dd1cd276498a" providerId="ADAL" clId="{53F90087-CD89-472D-8A37-1870DD05D0A8}" dt="2021-07-14T19:15:09.591" v="74" actId="1076"/>
          <ac:spMkLst>
            <pc:docMk/>
            <pc:sldMk cId="1224155370" sldId="264"/>
            <ac:spMk id="17" creationId="{962CC5A3-E4F6-4D80-81F5-789B75A35631}"/>
          </ac:spMkLst>
        </pc:spChg>
        <pc:spChg chg="mod">
          <ac:chgData name="Martin Wahl" userId="63283daa-9606-4894-9ca7-dd1cd276498a" providerId="ADAL" clId="{53F90087-CD89-472D-8A37-1870DD05D0A8}" dt="2021-07-14T19:15:37.213" v="81" actId="14100"/>
          <ac:spMkLst>
            <pc:docMk/>
            <pc:sldMk cId="1224155370" sldId="264"/>
            <ac:spMk id="18" creationId="{99220916-5964-4ED1-8660-5BE717822777}"/>
          </ac:spMkLst>
        </pc:spChg>
        <pc:spChg chg="mod">
          <ac:chgData name="Martin Wahl" userId="63283daa-9606-4894-9ca7-dd1cd276498a" providerId="ADAL" clId="{53F90087-CD89-472D-8A37-1870DD05D0A8}" dt="2021-07-14T19:15:40.540" v="82" actId="14100"/>
          <ac:spMkLst>
            <pc:docMk/>
            <pc:sldMk cId="1224155370" sldId="264"/>
            <ac:spMk id="19" creationId="{FC82B98C-0321-4A28-9F0E-6A94724B526C}"/>
          </ac:spMkLst>
        </pc:spChg>
        <pc:spChg chg="mod">
          <ac:chgData name="Martin Wahl" userId="63283daa-9606-4894-9ca7-dd1cd276498a" providerId="ADAL" clId="{53F90087-CD89-472D-8A37-1870DD05D0A8}" dt="2021-07-14T19:15:21.590" v="77" actId="14100"/>
          <ac:spMkLst>
            <pc:docMk/>
            <pc:sldMk cId="1224155370" sldId="264"/>
            <ac:spMk id="20" creationId="{B2123593-BC6A-4CF3-AF1B-2589D24610C4}"/>
          </ac:spMkLst>
        </pc:spChg>
        <pc:spChg chg="mod">
          <ac:chgData name="Martin Wahl" userId="63283daa-9606-4894-9ca7-dd1cd276498a" providerId="ADAL" clId="{53F90087-CD89-472D-8A37-1870DD05D0A8}" dt="2021-07-14T19:16:22.650" v="86" actId="1076"/>
          <ac:spMkLst>
            <pc:docMk/>
            <pc:sldMk cId="1224155370" sldId="264"/>
            <ac:spMk id="23" creationId="{C987651B-334D-4B13-8CE0-BB9271AF7724}"/>
          </ac:spMkLst>
        </pc:spChg>
        <pc:spChg chg="mod">
          <ac:chgData name="Martin Wahl" userId="63283daa-9606-4894-9ca7-dd1cd276498a" providerId="ADAL" clId="{53F90087-CD89-472D-8A37-1870DD05D0A8}" dt="2021-07-14T19:13:22.908" v="54" actId="14100"/>
          <ac:spMkLst>
            <pc:docMk/>
            <pc:sldMk cId="1224155370" sldId="264"/>
            <ac:spMk id="27" creationId="{4E7EB817-567A-4250-AA92-329F433F3203}"/>
          </ac:spMkLst>
        </pc:spChg>
        <pc:spChg chg="mod">
          <ac:chgData name="Martin Wahl" userId="63283daa-9606-4894-9ca7-dd1cd276498a" providerId="ADAL" clId="{53F90087-CD89-472D-8A37-1870DD05D0A8}" dt="2021-07-14T19:09:17.384" v="32" actId="6549"/>
          <ac:spMkLst>
            <pc:docMk/>
            <pc:sldMk cId="1224155370" sldId="264"/>
            <ac:spMk id="32" creationId="{942FC82D-E33A-412F-A8C7-0F695B48EDA5}"/>
          </ac:spMkLst>
        </pc:spChg>
        <pc:spChg chg="mod">
          <ac:chgData name="Martin Wahl" userId="63283daa-9606-4894-9ca7-dd1cd276498a" providerId="ADAL" clId="{53F90087-CD89-472D-8A37-1870DD05D0A8}" dt="2021-07-14T19:09:28.375" v="43" actId="20577"/>
          <ac:spMkLst>
            <pc:docMk/>
            <pc:sldMk cId="1224155370" sldId="264"/>
            <ac:spMk id="33" creationId="{455136BA-FF64-4584-AD76-BA2183031319}"/>
          </ac:spMkLst>
        </pc:spChg>
        <pc:grpChg chg="mod">
          <ac:chgData name="Martin Wahl" userId="63283daa-9606-4894-9ca7-dd1cd276498a" providerId="ADAL" clId="{53F90087-CD89-472D-8A37-1870DD05D0A8}" dt="2021-07-14T19:15:58.239" v="84" actId="1076"/>
          <ac:grpSpMkLst>
            <pc:docMk/>
            <pc:sldMk cId="1224155370" sldId="264"/>
            <ac:grpSpMk id="4" creationId="{ED6AFCA3-BA6C-448A-9700-8D8D02E1D87B}"/>
          </ac:grpSpMkLst>
        </pc:grpChg>
      </pc:sldChg>
      <pc:sldChg chg="modSp mod">
        <pc:chgData name="Martin Wahl" userId="63283daa-9606-4894-9ca7-dd1cd276498a" providerId="ADAL" clId="{53F90087-CD89-472D-8A37-1870DD05D0A8}" dt="2021-07-14T19:18:53.696" v="179" actId="6549"/>
        <pc:sldMkLst>
          <pc:docMk/>
          <pc:sldMk cId="104688657" sldId="276"/>
        </pc:sldMkLst>
        <pc:spChg chg="mod">
          <ac:chgData name="Martin Wahl" userId="63283daa-9606-4894-9ca7-dd1cd276498a" providerId="ADAL" clId="{53F90087-CD89-472D-8A37-1870DD05D0A8}" dt="2021-07-14T19:18:53.696" v="179" actId="6549"/>
          <ac:spMkLst>
            <pc:docMk/>
            <pc:sldMk cId="104688657" sldId="276"/>
            <ac:spMk id="5" creationId="{D25F63A5-8E57-403E-AEFA-0F8389FF209E}"/>
          </ac:spMkLst>
        </pc:spChg>
      </pc:sldChg>
      <pc:sldChg chg="modSp mod">
        <pc:chgData name="Martin Wahl" userId="63283daa-9606-4894-9ca7-dd1cd276498a" providerId="ADAL" clId="{53F90087-CD89-472D-8A37-1870DD05D0A8}" dt="2021-07-14T19:17:03.327" v="127" actId="20577"/>
        <pc:sldMkLst>
          <pc:docMk/>
          <pc:sldMk cId="3198015444" sldId="278"/>
        </pc:sldMkLst>
        <pc:spChg chg="mod">
          <ac:chgData name="Martin Wahl" userId="63283daa-9606-4894-9ca7-dd1cd276498a" providerId="ADAL" clId="{53F90087-CD89-472D-8A37-1870DD05D0A8}" dt="2021-07-14T19:16:56.072" v="117" actId="6549"/>
          <ac:spMkLst>
            <pc:docMk/>
            <pc:sldMk cId="3198015444" sldId="278"/>
            <ac:spMk id="14" creationId="{E0317429-B61F-4B84-A3CB-117A02BC9942}"/>
          </ac:spMkLst>
        </pc:spChg>
        <pc:spChg chg="mod">
          <ac:chgData name="Martin Wahl" userId="63283daa-9606-4894-9ca7-dd1cd276498a" providerId="ADAL" clId="{53F90087-CD89-472D-8A37-1870DD05D0A8}" dt="2021-07-14T19:17:03.327" v="127" actId="20577"/>
          <ac:spMkLst>
            <pc:docMk/>
            <pc:sldMk cId="3198015444" sldId="278"/>
            <ac:spMk id="15" creationId="{31AE228A-2A9E-4496-9003-FC10B8440181}"/>
          </ac:spMkLst>
        </pc:spChg>
      </pc:sldChg>
      <pc:sldChg chg="new del ord">
        <pc:chgData name="Martin Wahl" userId="63283daa-9606-4894-9ca7-dd1cd276498a" providerId="ADAL" clId="{53F90087-CD89-472D-8A37-1870DD05D0A8}" dt="2021-07-14T19:19:02.737" v="180" actId="47"/>
        <pc:sldMkLst>
          <pc:docMk/>
          <pc:sldMk cId="179177044" sldId="291"/>
        </pc:sldMkLst>
      </pc:sldChg>
      <pc:sldChg chg="addSp delSp modSp mod">
        <pc:chgData name="Martin Wahl" userId="63283daa-9606-4894-9ca7-dd1cd276498a" providerId="ADAL" clId="{53F90087-CD89-472D-8A37-1870DD05D0A8}" dt="2021-07-14T19:18:44.327" v="178" actId="20577"/>
        <pc:sldMkLst>
          <pc:docMk/>
          <pc:sldMk cId="1292270306" sldId="2134805499"/>
        </pc:sldMkLst>
        <pc:spChg chg="add del mod">
          <ac:chgData name="Martin Wahl" userId="63283daa-9606-4894-9ca7-dd1cd276498a" providerId="ADAL" clId="{53F90087-CD89-472D-8A37-1870DD05D0A8}" dt="2021-07-14T19:18:44.327" v="178" actId="20577"/>
          <ac:spMkLst>
            <pc:docMk/>
            <pc:sldMk cId="1292270306" sldId="2134805499"/>
            <ac:spMk id="3" creationId="{EF46BD70-867D-411D-A036-8E529A59C7FE}"/>
          </ac:spMkLst>
        </pc:spChg>
        <pc:spChg chg="del">
          <ac:chgData name="Martin Wahl" userId="63283daa-9606-4894-9ca7-dd1cd276498a" providerId="ADAL" clId="{53F90087-CD89-472D-8A37-1870DD05D0A8}" dt="2021-07-14T19:18:22.509" v="131" actId="478"/>
          <ac:spMkLst>
            <pc:docMk/>
            <pc:sldMk cId="1292270306" sldId="2134805499"/>
            <ac:spMk id="5" creationId="{B5E2600B-236E-40C5-AB9F-ED84965115C2}"/>
          </ac:spMkLst>
        </pc:spChg>
      </pc:sldChg>
      <pc:sldChg chg="modSp mod">
        <pc:chgData name="Martin Wahl" userId="63283daa-9606-4894-9ca7-dd1cd276498a" providerId="ADAL" clId="{53F90087-CD89-472D-8A37-1870DD05D0A8}" dt="2021-07-14T19:22:31.209" v="317" actId="20577"/>
        <pc:sldMkLst>
          <pc:docMk/>
          <pc:sldMk cId="2675340162" sldId="2147468686"/>
        </pc:sldMkLst>
        <pc:spChg chg="mod">
          <ac:chgData name="Martin Wahl" userId="63283daa-9606-4894-9ca7-dd1cd276498a" providerId="ADAL" clId="{53F90087-CD89-472D-8A37-1870DD05D0A8}" dt="2021-07-14T19:21:25.021" v="278" actId="6549"/>
          <ac:spMkLst>
            <pc:docMk/>
            <pc:sldMk cId="2675340162" sldId="2147468686"/>
            <ac:spMk id="17" creationId="{7F029499-B4DB-4736-98FC-E31F4C3FAE5C}"/>
          </ac:spMkLst>
        </pc:spChg>
        <pc:spChg chg="mod">
          <ac:chgData name="Martin Wahl" userId="63283daa-9606-4894-9ca7-dd1cd276498a" providerId="ADAL" clId="{53F90087-CD89-472D-8A37-1870DD05D0A8}" dt="2021-07-14T19:21:49.954" v="303" actId="20577"/>
          <ac:spMkLst>
            <pc:docMk/>
            <pc:sldMk cId="2675340162" sldId="2147468686"/>
            <ac:spMk id="21" creationId="{2C78DA52-407C-4612-A68D-9CC01A32846E}"/>
          </ac:spMkLst>
        </pc:spChg>
        <pc:spChg chg="mod">
          <ac:chgData name="Martin Wahl" userId="63283daa-9606-4894-9ca7-dd1cd276498a" providerId="ADAL" clId="{53F90087-CD89-472D-8A37-1870DD05D0A8}" dt="2021-07-14T19:22:31.209" v="317" actId="20577"/>
          <ac:spMkLst>
            <pc:docMk/>
            <pc:sldMk cId="2675340162" sldId="2147468686"/>
            <ac:spMk id="25" creationId="{1D62BB5F-B542-493B-B348-F4A949CA7232}"/>
          </ac:spMkLst>
        </pc:spChg>
      </pc:sldChg>
      <pc:sldChg chg="modSp mod modAnim">
        <pc:chgData name="Martin Wahl" userId="63283daa-9606-4894-9ca7-dd1cd276498a" providerId="ADAL" clId="{53F90087-CD89-472D-8A37-1870DD05D0A8}" dt="2021-07-14T19:20:27.226" v="262" actId="20577"/>
        <pc:sldMkLst>
          <pc:docMk/>
          <pc:sldMk cId="1817782006" sldId="2147469607"/>
        </pc:sldMkLst>
        <pc:spChg chg="mod">
          <ac:chgData name="Martin Wahl" userId="63283daa-9606-4894-9ca7-dd1cd276498a" providerId="ADAL" clId="{53F90087-CD89-472D-8A37-1870DD05D0A8}" dt="2021-07-14T19:20:27.226" v="262" actId="20577"/>
          <ac:spMkLst>
            <pc:docMk/>
            <pc:sldMk cId="1817782006" sldId="2147469607"/>
            <ac:spMk id="3" creationId="{8E1DBE2A-7AE5-44CD-B5EB-68E1E696358E}"/>
          </ac:spMkLst>
        </pc:spChg>
      </pc:sldChg>
    </pc:docChg>
  </pc:docChgLst>
  <pc:docChgLst>
    <pc:chgData name="Jason Foerch" userId="S::jasofo@microsoft.com::5dc6dd6a-089a-42b7-a432-399fa3a88477" providerId="AD" clId="Web-{06D3E1F1-55B2-4D8C-8B6B-D2676BCB97F5}"/>
    <pc:docChg chg="modSld">
      <pc:chgData name="Jason Foerch" userId="S::jasofo@microsoft.com::5dc6dd6a-089a-42b7-a432-399fa3a88477" providerId="AD" clId="Web-{06D3E1F1-55B2-4D8C-8B6B-D2676BCB97F5}" dt="2020-07-20T17:23:39.671" v="14" actId="1076"/>
      <pc:docMkLst>
        <pc:docMk/>
      </pc:docMkLst>
      <pc:sldChg chg="modSp">
        <pc:chgData name="Jason Foerch" userId="S::jasofo@microsoft.com::5dc6dd6a-089a-42b7-a432-399fa3a88477" providerId="AD" clId="Web-{06D3E1F1-55B2-4D8C-8B6B-D2676BCB97F5}" dt="2020-07-20T17:23:39.671" v="14" actId="1076"/>
        <pc:sldMkLst>
          <pc:docMk/>
          <pc:sldMk cId="1984782908" sldId="266"/>
        </pc:sldMkLst>
        <pc:graphicFrameChg chg="mod modGraphic">
          <ac:chgData name="Jason Foerch" userId="S::jasofo@microsoft.com::5dc6dd6a-089a-42b7-a432-399fa3a88477" providerId="AD" clId="Web-{06D3E1F1-55B2-4D8C-8B6B-D2676BCB97F5}" dt="2020-07-20T17:23:39.671" v="14" actId="1076"/>
          <ac:graphicFrameMkLst>
            <pc:docMk/>
            <pc:sldMk cId="1984782908" sldId="266"/>
            <ac:graphicFrameMk id="7" creationId="{E1DAF2A5-EDFF-415A-BDEB-C482B9AC4525}"/>
          </ac:graphicFrameMkLst>
        </pc:graphicFrameChg>
      </pc:sldChg>
    </pc:docChg>
  </pc:docChgLst>
  <pc:docChgLst>
    <pc:chgData name="Martin Wahl" userId="63283daa-9606-4894-9ca7-dd1cd276498a" providerId="ADAL" clId="{F67DB7FB-2366-4614-B804-0F59BD8230AA}"/>
    <pc:docChg chg="addSld delSld">
      <pc:chgData name="Martin Wahl" userId="63283daa-9606-4894-9ca7-dd1cd276498a" providerId="ADAL" clId="{F67DB7FB-2366-4614-B804-0F59BD8230AA}" dt="2021-08-20T21:34:42.484" v="2" actId="47"/>
      <pc:docMkLst>
        <pc:docMk/>
      </pc:docMkLst>
      <pc:sldChg chg="del">
        <pc:chgData name="Martin Wahl" userId="63283daa-9606-4894-9ca7-dd1cd276498a" providerId="ADAL" clId="{F67DB7FB-2366-4614-B804-0F59BD8230AA}" dt="2021-08-20T21:34:42.484" v="2" actId="47"/>
        <pc:sldMkLst>
          <pc:docMk/>
          <pc:sldMk cId="203614963" sldId="2147469609"/>
        </pc:sldMkLst>
      </pc:sldChg>
      <pc:sldChg chg="new del">
        <pc:chgData name="Martin Wahl" userId="63283daa-9606-4894-9ca7-dd1cd276498a" providerId="ADAL" clId="{F67DB7FB-2366-4614-B804-0F59BD8230AA}" dt="2021-08-20T21:34:33.902" v="1" actId="47"/>
        <pc:sldMkLst>
          <pc:docMk/>
          <pc:sldMk cId="373499569" sldId="2147469610"/>
        </pc:sldMkLst>
      </pc:sldChg>
    </pc:docChg>
  </pc:docChgLst>
  <pc:docChgLst>
    <pc:chgData name="Jason Foerch" userId="5dc6dd6a-089a-42b7-a432-399fa3a88477" providerId="ADAL" clId="{44FA158D-0E37-4461-8BFC-D3DEAFBC3838}"/>
    <pc:docChg chg="undo custSel modSld modNotesMaster">
      <pc:chgData name="Jason Foerch" userId="5dc6dd6a-089a-42b7-a432-399fa3a88477" providerId="ADAL" clId="{44FA158D-0E37-4461-8BFC-D3DEAFBC3838}" dt="2020-07-20T17:25:44.585" v="12" actId="13822"/>
      <pc:docMkLst>
        <pc:docMk/>
      </pc:docMkLst>
      <pc:sldChg chg="modSp mod">
        <pc:chgData name="Jason Foerch" userId="5dc6dd6a-089a-42b7-a432-399fa3a88477" providerId="ADAL" clId="{44FA158D-0E37-4461-8BFC-D3DEAFBC3838}" dt="2020-07-20T17:25:41.786" v="10" actId="13822"/>
        <pc:sldMkLst>
          <pc:docMk/>
          <pc:sldMk cId="1224155370" sldId="264"/>
        </pc:sldMkLst>
        <pc:spChg chg="mod">
          <ac:chgData name="Jason Foerch" userId="5dc6dd6a-089a-42b7-a432-399fa3a88477" providerId="ADAL" clId="{44FA158D-0E37-4461-8BFC-D3DEAFBC3838}" dt="2020-07-20T17:25:41.241" v="9" actId="13822"/>
          <ac:spMkLst>
            <pc:docMk/>
            <pc:sldMk cId="1224155370" sldId="264"/>
            <ac:spMk id="11" creationId="{CDA188C9-3A60-4AAE-9E98-4A4277FEEC20}"/>
          </ac:spMkLst>
        </pc:spChg>
        <pc:spChg chg="mod">
          <ac:chgData name="Jason Foerch" userId="5dc6dd6a-089a-42b7-a432-399fa3a88477" providerId="ADAL" clId="{44FA158D-0E37-4461-8BFC-D3DEAFBC3838}" dt="2020-07-20T17:25:41.786" v="10" actId="13822"/>
          <ac:spMkLst>
            <pc:docMk/>
            <pc:sldMk cId="1224155370" sldId="264"/>
            <ac:spMk id="12" creationId="{D9485679-7BCB-4CCD-9890-F92083DDEA85}"/>
          </ac:spMkLst>
        </pc:spChg>
        <pc:spChg chg="mod">
          <ac:chgData name="Jason Foerch" userId="5dc6dd6a-089a-42b7-a432-399fa3a88477" providerId="ADAL" clId="{44FA158D-0E37-4461-8BFC-D3DEAFBC3838}" dt="2020-07-20T17:25:40.635" v="8" actId="13822"/>
          <ac:spMkLst>
            <pc:docMk/>
            <pc:sldMk cId="1224155370" sldId="264"/>
            <ac:spMk id="31" creationId="{1D7EC73B-0B75-481F-9215-67645BE886AC}"/>
          </ac:spMkLst>
        </pc:spChg>
      </pc:sldChg>
      <pc:sldChg chg="modSp mod">
        <pc:chgData name="Jason Foerch" userId="5dc6dd6a-089a-42b7-a432-399fa3a88477" providerId="ADAL" clId="{44FA158D-0E37-4461-8BFC-D3DEAFBC3838}" dt="2020-07-20T17:25:44.585" v="12" actId="13822"/>
        <pc:sldMkLst>
          <pc:docMk/>
          <pc:sldMk cId="769921261" sldId="272"/>
        </pc:sldMkLst>
        <pc:spChg chg="mod">
          <ac:chgData name="Jason Foerch" userId="5dc6dd6a-089a-42b7-a432-399fa3a88477" providerId="ADAL" clId="{44FA158D-0E37-4461-8BFC-D3DEAFBC3838}" dt="2020-07-20T17:25:39.908" v="7" actId="13822"/>
          <ac:spMkLst>
            <pc:docMk/>
            <pc:sldMk cId="769921261" sldId="272"/>
            <ac:spMk id="11" creationId="{A9D1667F-FA89-47A1-AEF1-54EAD057CD1F}"/>
          </ac:spMkLst>
        </pc:spChg>
        <pc:spChg chg="mod">
          <ac:chgData name="Jason Foerch" userId="5dc6dd6a-089a-42b7-a432-399fa3a88477" providerId="ADAL" clId="{44FA158D-0E37-4461-8BFC-D3DEAFBC3838}" dt="2020-07-20T17:25:43.196" v="11" actId="13822"/>
          <ac:spMkLst>
            <pc:docMk/>
            <pc:sldMk cId="769921261" sldId="272"/>
            <ac:spMk id="41" creationId="{127047F8-FEDB-43A1-AFF9-54D4E02E9811}"/>
          </ac:spMkLst>
        </pc:spChg>
        <pc:spChg chg="mod">
          <ac:chgData name="Jason Foerch" userId="5dc6dd6a-089a-42b7-a432-399fa3a88477" providerId="ADAL" clId="{44FA158D-0E37-4461-8BFC-D3DEAFBC3838}" dt="2020-07-20T17:25:44.585" v="12" actId="13822"/>
          <ac:spMkLst>
            <pc:docMk/>
            <pc:sldMk cId="769921261" sldId="272"/>
            <ac:spMk id="42" creationId="{B57DE825-AC95-433A-AD29-B48300DDAC24}"/>
          </ac:spMkLst>
        </pc:spChg>
      </pc:sldChg>
    </pc:docChg>
  </pc:docChgLst>
  <pc:docChgLst>
    <pc:chgData name="Jason Foerch" userId="5dc6dd6a-089a-42b7-a432-399fa3a88477" providerId="ADAL" clId="{5FDB8ED9-32F6-474B-8F9F-3173125BE82D}"/>
    <pc:docChg chg="undo redo custSel addSld delSld modSld sldOrd">
      <pc:chgData name="Jason Foerch" userId="5dc6dd6a-089a-42b7-a432-399fa3a88477" providerId="ADAL" clId="{5FDB8ED9-32F6-474B-8F9F-3173125BE82D}" dt="2020-05-05T17:23:28.211" v="6337" actId="47"/>
      <pc:docMkLst>
        <pc:docMk/>
      </pc:docMkLst>
      <pc:sldChg chg="addSp delSp modSp add del mod ord modShow">
        <pc:chgData name="Jason Foerch" userId="5dc6dd6a-089a-42b7-a432-399fa3a88477" providerId="ADAL" clId="{5FDB8ED9-32F6-474B-8F9F-3173125BE82D}" dt="2020-05-05T17:23:28.211" v="6337" actId="47"/>
        <pc:sldMkLst>
          <pc:docMk/>
          <pc:sldMk cId="4283712025" sldId="256"/>
        </pc:sldMkLst>
        <pc:spChg chg="add mod">
          <ac:chgData name="Jason Foerch" userId="5dc6dd6a-089a-42b7-a432-399fa3a88477" providerId="ADAL" clId="{5FDB8ED9-32F6-474B-8F9F-3173125BE82D}" dt="2020-03-23T13:42:54.411" v="5138" actId="20577"/>
          <ac:spMkLst>
            <pc:docMk/>
            <pc:sldMk cId="4283712025" sldId="256"/>
            <ac:spMk id="2" creationId="{2CC07540-5EFD-48EA-A602-11952194A7BA}"/>
          </ac:spMkLst>
        </pc:spChg>
        <pc:spChg chg="add mod">
          <ac:chgData name="Jason Foerch" userId="5dc6dd6a-089a-42b7-a432-399fa3a88477" providerId="ADAL" clId="{5FDB8ED9-32F6-474B-8F9F-3173125BE82D}" dt="2020-03-23T13:43:46.651" v="5168" actId="164"/>
          <ac:spMkLst>
            <pc:docMk/>
            <pc:sldMk cId="4283712025" sldId="256"/>
            <ac:spMk id="4" creationId="{C677D81D-9B88-4280-BE4A-4BE82B61815E}"/>
          </ac:spMkLst>
        </pc:spChg>
        <pc:spChg chg="add mod">
          <ac:chgData name="Jason Foerch" userId="5dc6dd6a-089a-42b7-a432-399fa3a88477" providerId="ADAL" clId="{5FDB8ED9-32F6-474B-8F9F-3173125BE82D}" dt="2020-03-23T13:50:31.304" v="5175" actId="13822"/>
          <ac:spMkLst>
            <pc:docMk/>
            <pc:sldMk cId="4283712025" sldId="256"/>
            <ac:spMk id="6" creationId="{2FBFFE0D-5E5A-43A2-81B3-2FC2E0FA7AE2}"/>
          </ac:spMkLst>
        </pc:spChg>
        <pc:spChg chg="add mod">
          <ac:chgData name="Jason Foerch" userId="5dc6dd6a-089a-42b7-a432-399fa3a88477" providerId="ADAL" clId="{5FDB8ED9-32F6-474B-8F9F-3173125BE82D}" dt="2020-03-23T13:50:47.372" v="5186" actId="20577"/>
          <ac:spMkLst>
            <pc:docMk/>
            <pc:sldMk cId="4283712025" sldId="256"/>
            <ac:spMk id="7" creationId="{F28573C1-5263-4E7D-BC84-DAC96D7D663A}"/>
          </ac:spMkLst>
        </pc:spChg>
        <pc:spChg chg="mod">
          <ac:chgData name="Jason Foerch" userId="5dc6dd6a-089a-42b7-a432-399fa3a88477" providerId="ADAL" clId="{5FDB8ED9-32F6-474B-8F9F-3173125BE82D}" dt="2020-03-16T19:25:26.518" v="1492" actId="2711"/>
          <ac:spMkLst>
            <pc:docMk/>
            <pc:sldMk cId="4283712025" sldId="256"/>
            <ac:spMk id="10" creationId="{67239103-D575-423F-8B20-3CE1A52423B7}"/>
          </ac:spMkLst>
        </pc:spChg>
        <pc:spChg chg="add mod">
          <ac:chgData name="Jason Foerch" userId="5dc6dd6a-089a-42b7-a432-399fa3a88477" providerId="ADAL" clId="{5FDB8ED9-32F6-474B-8F9F-3173125BE82D}" dt="2020-03-23T13:42:42.749" v="5119" actId="1076"/>
          <ac:spMkLst>
            <pc:docMk/>
            <pc:sldMk cId="4283712025" sldId="256"/>
            <ac:spMk id="13" creationId="{15A35726-8E37-488A-962C-5082A82FE3BE}"/>
          </ac:spMkLst>
        </pc:spChg>
        <pc:spChg chg="del mod">
          <ac:chgData name="Jason Foerch" userId="5dc6dd6a-089a-42b7-a432-399fa3a88477" providerId="ADAL" clId="{5FDB8ED9-32F6-474B-8F9F-3173125BE82D}" dt="2020-03-16T15:18:08.390" v="356" actId="478"/>
          <ac:spMkLst>
            <pc:docMk/>
            <pc:sldMk cId="4283712025" sldId="256"/>
            <ac:spMk id="15" creationId="{3FA3D0CD-C8FF-47C8-91B6-F587C8B7171E}"/>
          </ac:spMkLst>
        </pc:spChg>
        <pc:spChg chg="del mod">
          <ac:chgData name="Jason Foerch" userId="5dc6dd6a-089a-42b7-a432-399fa3a88477" providerId="ADAL" clId="{5FDB8ED9-32F6-474B-8F9F-3173125BE82D}" dt="2020-03-16T15:14:09.583" v="112" actId="478"/>
          <ac:spMkLst>
            <pc:docMk/>
            <pc:sldMk cId="4283712025" sldId="256"/>
            <ac:spMk id="16" creationId="{5938463E-BA1B-49DE-8546-A12F6FF10FF7}"/>
          </ac:spMkLst>
        </pc:spChg>
        <pc:spChg chg="del mod">
          <ac:chgData name="Jason Foerch" userId="5dc6dd6a-089a-42b7-a432-399fa3a88477" providerId="ADAL" clId="{5FDB8ED9-32F6-474B-8F9F-3173125BE82D}" dt="2020-03-16T15:18:46.799" v="375" actId="478"/>
          <ac:spMkLst>
            <pc:docMk/>
            <pc:sldMk cId="4283712025" sldId="256"/>
            <ac:spMk id="17" creationId="{82747F9A-426C-41F0-8FB4-9DD2B607D302}"/>
          </ac:spMkLst>
        </pc:spChg>
        <pc:spChg chg="del mod topLvl">
          <ac:chgData name="Jason Foerch" userId="5dc6dd6a-089a-42b7-a432-399fa3a88477" providerId="ADAL" clId="{5FDB8ED9-32F6-474B-8F9F-3173125BE82D}" dt="2020-03-16T15:19:38.047" v="385" actId="478"/>
          <ac:spMkLst>
            <pc:docMk/>
            <pc:sldMk cId="4283712025" sldId="256"/>
            <ac:spMk id="18" creationId="{14CA4B1B-9CB5-4A7A-B7B2-07E1700ADFAB}"/>
          </ac:spMkLst>
        </pc:spChg>
        <pc:spChg chg="del mod topLvl">
          <ac:chgData name="Jason Foerch" userId="5dc6dd6a-089a-42b7-a432-399fa3a88477" providerId="ADAL" clId="{5FDB8ED9-32F6-474B-8F9F-3173125BE82D}" dt="2020-03-16T15:20:48.569" v="393" actId="478"/>
          <ac:spMkLst>
            <pc:docMk/>
            <pc:sldMk cId="4283712025" sldId="256"/>
            <ac:spMk id="19" creationId="{47FFB36C-55CF-4F07-A52A-805567644F02}"/>
          </ac:spMkLst>
        </pc:spChg>
        <pc:spChg chg="del topLvl">
          <ac:chgData name="Jason Foerch" userId="5dc6dd6a-089a-42b7-a432-399fa3a88477" providerId="ADAL" clId="{5FDB8ED9-32F6-474B-8F9F-3173125BE82D}" dt="2020-03-12T19:48:09.117" v="3" actId="478"/>
          <ac:spMkLst>
            <pc:docMk/>
            <pc:sldMk cId="4283712025" sldId="256"/>
            <ac:spMk id="21" creationId="{CE3F3FF6-5244-49D5-BC80-D10DB322D96E}"/>
          </ac:spMkLst>
        </pc:spChg>
        <pc:spChg chg="del topLvl">
          <ac:chgData name="Jason Foerch" userId="5dc6dd6a-089a-42b7-a432-399fa3a88477" providerId="ADAL" clId="{5FDB8ED9-32F6-474B-8F9F-3173125BE82D}" dt="2020-03-12T19:48:05.049" v="0" actId="478"/>
          <ac:spMkLst>
            <pc:docMk/>
            <pc:sldMk cId="4283712025" sldId="256"/>
            <ac:spMk id="23" creationId="{AABEA400-5F01-45E0-900A-1AED9FA1D2AF}"/>
          </ac:spMkLst>
        </pc:spChg>
        <pc:spChg chg="add mod">
          <ac:chgData name="Jason Foerch" userId="5dc6dd6a-089a-42b7-a432-399fa3a88477" providerId="ADAL" clId="{5FDB8ED9-32F6-474B-8F9F-3173125BE82D}" dt="2020-03-23T13:51:05.567" v="5208" actId="13822"/>
          <ac:spMkLst>
            <pc:docMk/>
            <pc:sldMk cId="4283712025" sldId="256"/>
            <ac:spMk id="27" creationId="{869D6DFA-8A1B-4407-9F45-5AE383DEED1D}"/>
          </ac:spMkLst>
        </pc:spChg>
        <pc:spChg chg="add del mod">
          <ac:chgData name="Jason Foerch" userId="5dc6dd6a-089a-42b7-a432-399fa3a88477" providerId="ADAL" clId="{5FDB8ED9-32F6-474B-8F9F-3173125BE82D}" dt="2020-03-16T15:21:06.087" v="396" actId="478"/>
          <ac:spMkLst>
            <pc:docMk/>
            <pc:sldMk cId="4283712025" sldId="256"/>
            <ac:spMk id="40" creationId="{7E2A6F79-A7BC-4EDA-A24E-A3EA2D0C1E31}"/>
          </ac:spMkLst>
        </pc:spChg>
        <pc:spChg chg="add del mod">
          <ac:chgData name="Jason Foerch" userId="5dc6dd6a-089a-42b7-a432-399fa3a88477" providerId="ADAL" clId="{5FDB8ED9-32F6-474B-8F9F-3173125BE82D}" dt="2020-03-16T15:46:15.668" v="560" actId="478"/>
          <ac:spMkLst>
            <pc:docMk/>
            <pc:sldMk cId="4283712025" sldId="256"/>
            <ac:spMk id="41" creationId="{127047F8-FEDB-43A1-AFF9-54D4E02E9811}"/>
          </ac:spMkLst>
        </pc:spChg>
        <pc:spChg chg="add del mod">
          <ac:chgData name="Jason Foerch" userId="5dc6dd6a-089a-42b7-a432-399fa3a88477" providerId="ADAL" clId="{5FDB8ED9-32F6-474B-8F9F-3173125BE82D}" dt="2020-03-16T15:46:15.668" v="560" actId="478"/>
          <ac:spMkLst>
            <pc:docMk/>
            <pc:sldMk cId="4283712025" sldId="256"/>
            <ac:spMk id="42" creationId="{B57DE825-AC95-433A-AD29-B48300DDAC24}"/>
          </ac:spMkLst>
        </pc:spChg>
        <pc:spChg chg="add del mod">
          <ac:chgData name="Jason Foerch" userId="5dc6dd6a-089a-42b7-a432-399fa3a88477" providerId="ADAL" clId="{5FDB8ED9-32F6-474B-8F9F-3173125BE82D}" dt="2020-03-16T15:46:15.668" v="560" actId="478"/>
          <ac:spMkLst>
            <pc:docMk/>
            <pc:sldMk cId="4283712025" sldId="256"/>
            <ac:spMk id="43" creationId="{68EEC265-E34B-4974-9B42-90AA49BF2242}"/>
          </ac:spMkLst>
        </pc:spChg>
        <pc:spChg chg="add del mod">
          <ac:chgData name="Jason Foerch" userId="5dc6dd6a-089a-42b7-a432-399fa3a88477" providerId="ADAL" clId="{5FDB8ED9-32F6-474B-8F9F-3173125BE82D}" dt="2020-03-16T15:46:15.668" v="560" actId="478"/>
          <ac:spMkLst>
            <pc:docMk/>
            <pc:sldMk cId="4283712025" sldId="256"/>
            <ac:spMk id="44" creationId="{C4B1D6C7-3160-4331-80FB-8DBB87B964FC}"/>
          </ac:spMkLst>
        </pc:spChg>
        <pc:spChg chg="add del">
          <ac:chgData name="Jason Foerch" userId="5dc6dd6a-089a-42b7-a432-399fa3a88477" providerId="ADAL" clId="{5FDB8ED9-32F6-474B-8F9F-3173125BE82D}" dt="2020-03-16T15:19:19.717" v="381"/>
          <ac:spMkLst>
            <pc:docMk/>
            <pc:sldMk cId="4283712025" sldId="256"/>
            <ac:spMk id="45" creationId="{FED6104F-198B-4DF2-9AEE-5FC590822634}"/>
          </ac:spMkLst>
        </pc:spChg>
        <pc:spChg chg="add del mod">
          <ac:chgData name="Jason Foerch" userId="5dc6dd6a-089a-42b7-a432-399fa3a88477" providerId="ADAL" clId="{5FDB8ED9-32F6-474B-8F9F-3173125BE82D}" dt="2020-03-16T15:46:15.668" v="560" actId="478"/>
          <ac:spMkLst>
            <pc:docMk/>
            <pc:sldMk cId="4283712025" sldId="256"/>
            <ac:spMk id="46" creationId="{7AE97140-AAE9-476E-BB76-CD06FBD23C44}"/>
          </ac:spMkLst>
        </pc:spChg>
        <pc:spChg chg="add del mod">
          <ac:chgData name="Jason Foerch" userId="5dc6dd6a-089a-42b7-a432-399fa3a88477" providerId="ADAL" clId="{5FDB8ED9-32F6-474B-8F9F-3173125BE82D}" dt="2020-03-16T15:46:15.668" v="560" actId="478"/>
          <ac:spMkLst>
            <pc:docMk/>
            <pc:sldMk cId="4283712025" sldId="256"/>
            <ac:spMk id="47" creationId="{C08D3209-2199-4E75-A5CB-5B006C1F1A56}"/>
          </ac:spMkLst>
        </pc:spChg>
        <pc:spChg chg="add del mod">
          <ac:chgData name="Jason Foerch" userId="5dc6dd6a-089a-42b7-a432-399fa3a88477" providerId="ADAL" clId="{5FDB8ED9-32F6-474B-8F9F-3173125BE82D}" dt="2020-03-16T15:46:15.668" v="560" actId="478"/>
          <ac:spMkLst>
            <pc:docMk/>
            <pc:sldMk cId="4283712025" sldId="256"/>
            <ac:spMk id="48" creationId="{B4833EFA-6DAC-4C6F-91CD-E213B5C4294F}"/>
          </ac:spMkLst>
        </pc:spChg>
        <pc:spChg chg="add mod">
          <ac:chgData name="Jason Foerch" userId="5dc6dd6a-089a-42b7-a432-399fa3a88477" providerId="ADAL" clId="{5FDB8ED9-32F6-474B-8F9F-3173125BE82D}" dt="2020-03-16T19:25:26.518" v="1492" actId="2711"/>
          <ac:spMkLst>
            <pc:docMk/>
            <pc:sldMk cId="4283712025" sldId="256"/>
            <ac:spMk id="49" creationId="{2111B91A-A000-4D67-80EC-61D47AAD5907}"/>
          </ac:spMkLst>
        </pc:spChg>
        <pc:spChg chg="add mod">
          <ac:chgData name="Jason Foerch" userId="5dc6dd6a-089a-42b7-a432-399fa3a88477" providerId="ADAL" clId="{5FDB8ED9-32F6-474B-8F9F-3173125BE82D}" dt="2020-03-16T19:25:26.518" v="1492" actId="2711"/>
          <ac:spMkLst>
            <pc:docMk/>
            <pc:sldMk cId="4283712025" sldId="256"/>
            <ac:spMk id="50" creationId="{EADA0816-1FD6-4CAB-A193-8E827648DDFC}"/>
          </ac:spMkLst>
        </pc:spChg>
        <pc:spChg chg="add mod">
          <ac:chgData name="Jason Foerch" userId="5dc6dd6a-089a-42b7-a432-399fa3a88477" providerId="ADAL" clId="{5FDB8ED9-32F6-474B-8F9F-3173125BE82D}" dt="2020-03-23T13:43:18.267" v="5143" actId="164"/>
          <ac:spMkLst>
            <pc:docMk/>
            <pc:sldMk cId="4283712025" sldId="256"/>
            <ac:spMk id="51" creationId="{200DA386-5F15-42CE-9ECF-D56E5781CA69}"/>
          </ac:spMkLst>
        </pc:spChg>
        <pc:spChg chg="add mod">
          <ac:chgData name="Jason Foerch" userId="5dc6dd6a-089a-42b7-a432-399fa3a88477" providerId="ADAL" clId="{5FDB8ED9-32F6-474B-8F9F-3173125BE82D}" dt="2020-03-16T19:25:26.518" v="1492" actId="2711"/>
          <ac:spMkLst>
            <pc:docMk/>
            <pc:sldMk cId="4283712025" sldId="256"/>
            <ac:spMk id="52" creationId="{CCA8EE08-C739-4959-8DC5-E05ACA64B926}"/>
          </ac:spMkLst>
        </pc:spChg>
        <pc:spChg chg="add mod">
          <ac:chgData name="Jason Foerch" userId="5dc6dd6a-089a-42b7-a432-399fa3a88477" providerId="ADAL" clId="{5FDB8ED9-32F6-474B-8F9F-3173125BE82D}" dt="2020-03-23T13:42:09.821" v="5113" actId="1076"/>
          <ac:spMkLst>
            <pc:docMk/>
            <pc:sldMk cId="4283712025" sldId="256"/>
            <ac:spMk id="56" creationId="{FD14A225-CADF-41C0-95AA-67FA314880A1}"/>
          </ac:spMkLst>
        </pc:spChg>
        <pc:grpChg chg="add mod">
          <ac:chgData name="Jason Foerch" userId="5dc6dd6a-089a-42b7-a432-399fa3a88477" providerId="ADAL" clId="{5FDB8ED9-32F6-474B-8F9F-3173125BE82D}" dt="2020-03-23T13:43:18.267" v="5143" actId="164"/>
          <ac:grpSpMkLst>
            <pc:docMk/>
            <pc:sldMk cId="4283712025" sldId="256"/>
            <ac:grpSpMk id="3" creationId="{FB2C9C1C-914A-47E6-89FF-84B1BB610D53}"/>
          </ac:grpSpMkLst>
        </pc:grpChg>
        <pc:grpChg chg="add mod">
          <ac:chgData name="Jason Foerch" userId="5dc6dd6a-089a-42b7-a432-399fa3a88477" providerId="ADAL" clId="{5FDB8ED9-32F6-474B-8F9F-3173125BE82D}" dt="2020-03-23T13:43:46.651" v="5168" actId="164"/>
          <ac:grpSpMkLst>
            <pc:docMk/>
            <pc:sldMk cId="4283712025" sldId="256"/>
            <ac:grpSpMk id="5" creationId="{56EEE411-5D2F-4FFF-AC41-CB90F0B847A1}"/>
          </ac:grpSpMkLst>
        </pc:grpChg>
        <pc:grpChg chg="del mod">
          <ac:chgData name="Jason Foerch" userId="5dc6dd6a-089a-42b7-a432-399fa3a88477" providerId="ADAL" clId="{5FDB8ED9-32F6-474B-8F9F-3173125BE82D}" dt="2020-03-16T15:10:21.755" v="23"/>
          <ac:grpSpMkLst>
            <pc:docMk/>
            <pc:sldMk cId="4283712025" sldId="256"/>
            <ac:grpSpMk id="7" creationId="{6245E378-1DCC-491D-8F5A-2643EF10FAD1}"/>
          </ac:grpSpMkLst>
        </pc:grpChg>
        <pc:grpChg chg="del mod">
          <ac:chgData name="Jason Foerch" userId="5dc6dd6a-089a-42b7-a432-399fa3a88477" providerId="ADAL" clId="{5FDB8ED9-32F6-474B-8F9F-3173125BE82D}" dt="2020-03-16T15:10:26.785" v="25"/>
          <ac:grpSpMkLst>
            <pc:docMk/>
            <pc:sldMk cId="4283712025" sldId="256"/>
            <ac:grpSpMk id="9" creationId="{A5EF5F43-06C7-48F2-8794-94283D7EEA49}"/>
          </ac:grpSpMkLst>
        </pc:grpChg>
        <pc:grpChg chg="del mod">
          <ac:chgData name="Jason Foerch" userId="5dc6dd6a-089a-42b7-a432-399fa3a88477" providerId="ADAL" clId="{5FDB8ED9-32F6-474B-8F9F-3173125BE82D}" dt="2020-03-16T15:10:42.048" v="35"/>
          <ac:grpSpMkLst>
            <pc:docMk/>
            <pc:sldMk cId="4283712025" sldId="256"/>
            <ac:grpSpMk id="12" creationId="{71355E6B-BE29-424B-BD82-E287E0522D28}"/>
          </ac:grpSpMkLst>
        </pc:grpChg>
        <pc:grpChg chg="del mod topLvl">
          <ac:chgData name="Jason Foerch" userId="5dc6dd6a-089a-42b7-a432-399fa3a88477" providerId="ADAL" clId="{5FDB8ED9-32F6-474B-8F9F-3173125BE82D}" dt="2020-03-16T15:19:38.047" v="385" actId="478"/>
          <ac:grpSpMkLst>
            <pc:docMk/>
            <pc:sldMk cId="4283712025" sldId="256"/>
            <ac:grpSpMk id="13" creationId="{631D391C-32BC-49C2-A828-58C66761833C}"/>
          </ac:grpSpMkLst>
        </pc:grpChg>
        <pc:grpChg chg="add mod">
          <ac:chgData name="Jason Foerch" userId="5dc6dd6a-089a-42b7-a432-399fa3a88477" providerId="ADAL" clId="{5FDB8ED9-32F6-474B-8F9F-3173125BE82D}" dt="2020-03-23T13:43:46.651" v="5168" actId="164"/>
          <ac:grpSpMkLst>
            <pc:docMk/>
            <pc:sldMk cId="4283712025" sldId="256"/>
            <ac:grpSpMk id="15" creationId="{96E727EF-96CD-4F54-9B3C-5CFE9DFCB175}"/>
          </ac:grpSpMkLst>
        </pc:grpChg>
        <pc:grpChg chg="add mod">
          <ac:chgData name="Jason Foerch" userId="5dc6dd6a-089a-42b7-a432-399fa3a88477" providerId="ADAL" clId="{5FDB8ED9-32F6-474B-8F9F-3173125BE82D}" dt="2020-03-23T13:43:54.739" v="5170" actId="1076"/>
          <ac:grpSpMkLst>
            <pc:docMk/>
            <pc:sldMk cId="4283712025" sldId="256"/>
            <ac:grpSpMk id="20" creationId="{DF4D5973-6943-4424-BA3F-888B4700BFB6}"/>
          </ac:grpSpMkLst>
        </pc:grpChg>
        <pc:grpChg chg="mod">
          <ac:chgData name="Jason Foerch" userId="5dc6dd6a-089a-42b7-a432-399fa3a88477" providerId="ADAL" clId="{5FDB8ED9-32F6-474B-8F9F-3173125BE82D}" dt="2020-03-23T13:43:48.246" v="5169"/>
          <ac:grpSpMkLst>
            <pc:docMk/>
            <pc:sldMk cId="4283712025" sldId="256"/>
            <ac:grpSpMk id="21" creationId="{52E58920-E226-4E89-B32D-2D61C6038530}"/>
          </ac:grpSpMkLst>
        </pc:grpChg>
        <pc:grpChg chg="add del topLvl">
          <ac:chgData name="Jason Foerch" userId="5dc6dd6a-089a-42b7-a432-399fa3a88477" providerId="ADAL" clId="{5FDB8ED9-32F6-474B-8F9F-3173125BE82D}" dt="2020-03-12T19:48:09.117" v="3" actId="478"/>
          <ac:grpSpMkLst>
            <pc:docMk/>
            <pc:sldMk cId="4283712025" sldId="256"/>
            <ac:grpSpMk id="22" creationId="{7DEDFE43-FA2B-4B5C-8FFC-23E277CEF979}"/>
          </ac:grpSpMkLst>
        </pc:grpChg>
        <pc:grpChg chg="del mod">
          <ac:chgData name="Jason Foerch" userId="5dc6dd6a-089a-42b7-a432-399fa3a88477" providerId="ADAL" clId="{5FDB8ED9-32F6-474B-8F9F-3173125BE82D}" dt="2020-03-16T15:12:26.359" v="56"/>
          <ac:grpSpMkLst>
            <pc:docMk/>
            <pc:sldMk cId="4283712025" sldId="256"/>
            <ac:grpSpMk id="23" creationId="{F1380490-077E-4D6B-A696-019260BE2571}"/>
          </ac:grpSpMkLst>
        </pc:grpChg>
        <pc:grpChg chg="del">
          <ac:chgData name="Jason Foerch" userId="5dc6dd6a-089a-42b7-a432-399fa3a88477" providerId="ADAL" clId="{5FDB8ED9-32F6-474B-8F9F-3173125BE82D}" dt="2020-03-12T19:48:05.049" v="0" actId="478"/>
          <ac:grpSpMkLst>
            <pc:docMk/>
            <pc:sldMk cId="4283712025" sldId="256"/>
            <ac:grpSpMk id="24" creationId="{E390F679-1248-4538-9FDC-0CA0E603FB9A}"/>
          </ac:grpSpMkLst>
        </pc:grpChg>
        <pc:grpChg chg="del mod">
          <ac:chgData name="Jason Foerch" userId="5dc6dd6a-089a-42b7-a432-399fa3a88477" providerId="ADAL" clId="{5FDB8ED9-32F6-474B-8F9F-3173125BE82D}" dt="2020-03-16T15:10:48.140" v="38"/>
          <ac:grpSpMkLst>
            <pc:docMk/>
            <pc:sldMk cId="4283712025" sldId="256"/>
            <ac:grpSpMk id="28" creationId="{FAF21D83-C54A-454C-AE26-C804443D5BC4}"/>
          </ac:grpSpMkLst>
        </pc:grpChg>
        <pc:grpChg chg="del mod">
          <ac:chgData name="Jason Foerch" userId="5dc6dd6a-089a-42b7-a432-399fa3a88477" providerId="ADAL" clId="{5FDB8ED9-32F6-474B-8F9F-3173125BE82D}" dt="2020-03-16T15:11:23.109" v="46"/>
          <ac:grpSpMkLst>
            <pc:docMk/>
            <pc:sldMk cId="4283712025" sldId="256"/>
            <ac:grpSpMk id="31" creationId="{949C3B8F-9AAF-42C7-A57A-C55D5FFB1C9A}"/>
          </ac:grpSpMkLst>
        </pc:grpChg>
        <pc:grpChg chg="del mod">
          <ac:chgData name="Jason Foerch" userId="5dc6dd6a-089a-42b7-a432-399fa3a88477" providerId="ADAL" clId="{5FDB8ED9-32F6-474B-8F9F-3173125BE82D}" dt="2020-03-16T15:12:27.849" v="58"/>
          <ac:grpSpMkLst>
            <pc:docMk/>
            <pc:sldMk cId="4283712025" sldId="256"/>
            <ac:grpSpMk id="35" creationId="{2F7BD395-EB1C-4868-B123-03A50844E82F}"/>
          </ac:grpSpMkLst>
        </pc:grpChg>
        <pc:grpChg chg="del mod">
          <ac:chgData name="Jason Foerch" userId="5dc6dd6a-089a-42b7-a432-399fa3a88477" providerId="ADAL" clId="{5FDB8ED9-32F6-474B-8F9F-3173125BE82D}" dt="2020-03-16T15:16:40.632" v="219" actId="478"/>
          <ac:grpSpMkLst>
            <pc:docMk/>
            <pc:sldMk cId="4283712025" sldId="256"/>
            <ac:grpSpMk id="38" creationId="{9C11929B-5A9D-4DF9-8222-B469035F5305}"/>
          </ac:grpSpMkLst>
        </pc:grpChg>
        <pc:picChg chg="add del">
          <ac:chgData name="Jason Foerch" userId="5dc6dd6a-089a-42b7-a432-399fa3a88477" providerId="ADAL" clId="{5FDB8ED9-32F6-474B-8F9F-3173125BE82D}" dt="2020-03-23T13:41:46.901" v="5112"/>
          <ac:picMkLst>
            <pc:docMk/>
            <pc:sldMk cId="4283712025" sldId="256"/>
            <ac:picMk id="11" creationId="{17193C80-07D6-435E-B2E2-34C6C5D51D08}"/>
          </ac:picMkLst>
        </pc:picChg>
        <pc:picChg chg="add mod ord">
          <ac:chgData name="Jason Foerch" userId="5dc6dd6a-089a-42b7-a432-399fa3a88477" providerId="ADAL" clId="{5FDB8ED9-32F6-474B-8F9F-3173125BE82D}" dt="2020-03-23T13:43:04.596" v="5141" actId="1076"/>
          <ac:picMkLst>
            <pc:docMk/>
            <pc:sldMk cId="4283712025" sldId="256"/>
            <ac:picMk id="12" creationId="{0A33A8FE-423F-43DE-83CB-25171F8AC321}"/>
          </ac:picMkLst>
        </pc:picChg>
        <pc:picChg chg="add mod">
          <ac:chgData name="Jason Foerch" userId="5dc6dd6a-089a-42b7-a432-399fa3a88477" providerId="ADAL" clId="{5FDB8ED9-32F6-474B-8F9F-3173125BE82D}" dt="2020-03-23T13:43:18.267" v="5143" actId="164"/>
          <ac:picMkLst>
            <pc:docMk/>
            <pc:sldMk cId="4283712025" sldId="256"/>
            <ac:picMk id="54" creationId="{A72DAC87-14F1-4114-8C3C-4CB07157553D}"/>
          </ac:picMkLst>
        </pc:picChg>
        <pc:picChg chg="add mod">
          <ac:chgData name="Jason Foerch" userId="5dc6dd6a-089a-42b7-a432-399fa3a88477" providerId="ADAL" clId="{5FDB8ED9-32F6-474B-8F9F-3173125BE82D}" dt="2020-03-16T19:23:33.650" v="1280" actId="1076"/>
          <ac:picMkLst>
            <pc:docMk/>
            <pc:sldMk cId="4283712025" sldId="256"/>
            <ac:picMk id="55" creationId="{8824BF79-F97E-4E87-BE44-F03071F3305B}"/>
          </ac:picMkLst>
        </pc:picChg>
        <pc:inkChg chg="add del">
          <ac:chgData name="Jason Foerch" userId="5dc6dd6a-089a-42b7-a432-399fa3a88477" providerId="ADAL" clId="{5FDB8ED9-32F6-474B-8F9F-3173125BE82D}" dt="2020-03-16T15:10:01.436" v="17"/>
          <ac:inkMkLst>
            <pc:docMk/>
            <pc:sldMk cId="4283712025" sldId="256"/>
            <ac:inkMk id="2" creationId="{3A52B491-3ADF-4ED7-804D-FD5F59B67202}"/>
          </ac:inkMkLst>
        </pc:inkChg>
        <pc:inkChg chg="add del">
          <ac:chgData name="Jason Foerch" userId="5dc6dd6a-089a-42b7-a432-399fa3a88477" providerId="ADAL" clId="{5FDB8ED9-32F6-474B-8F9F-3173125BE82D}" dt="2020-03-16T15:10:01.429" v="16"/>
          <ac:inkMkLst>
            <pc:docMk/>
            <pc:sldMk cId="4283712025" sldId="256"/>
            <ac:inkMk id="3" creationId="{7F73A4FB-E27B-43E7-9911-0DF9D75BB0B0}"/>
          </ac:inkMkLst>
        </pc:inkChg>
        <pc:inkChg chg="add del">
          <ac:chgData name="Jason Foerch" userId="5dc6dd6a-089a-42b7-a432-399fa3a88477" providerId="ADAL" clId="{5FDB8ED9-32F6-474B-8F9F-3173125BE82D}" dt="2020-03-16T15:10:04.331" v="18"/>
          <ac:inkMkLst>
            <pc:docMk/>
            <pc:sldMk cId="4283712025" sldId="256"/>
            <ac:inkMk id="4" creationId="{5A674B2C-5511-44BF-9C56-E1AD80A0CB69}"/>
          </ac:inkMkLst>
        </pc:inkChg>
        <pc:inkChg chg="add del mod">
          <ac:chgData name="Jason Foerch" userId="5dc6dd6a-089a-42b7-a432-399fa3a88477" providerId="ADAL" clId="{5FDB8ED9-32F6-474B-8F9F-3173125BE82D}" dt="2020-03-16T15:11:44.547" v="47"/>
          <ac:inkMkLst>
            <pc:docMk/>
            <pc:sldMk cId="4283712025" sldId="256"/>
            <ac:inkMk id="5" creationId="{74052716-DAAA-4A7B-9FC4-95CAAE449F53}"/>
          </ac:inkMkLst>
        </pc:inkChg>
        <pc:inkChg chg="add del mod">
          <ac:chgData name="Jason Foerch" userId="5dc6dd6a-089a-42b7-a432-399fa3a88477" providerId="ADAL" clId="{5FDB8ED9-32F6-474B-8F9F-3173125BE82D}" dt="2020-03-16T15:11:23.098" v="39"/>
          <ac:inkMkLst>
            <pc:docMk/>
            <pc:sldMk cId="4283712025" sldId="256"/>
            <ac:inkMk id="6" creationId="{2C9202C7-E66E-46C2-A6DD-36687A18DC23}"/>
          </ac:inkMkLst>
        </pc:inkChg>
        <pc:inkChg chg="add del mod">
          <ac:chgData name="Jason Foerch" userId="5dc6dd6a-089a-42b7-a432-399fa3a88477" providerId="ADAL" clId="{5FDB8ED9-32F6-474B-8F9F-3173125BE82D}" dt="2020-03-16T15:11:23.102" v="41"/>
          <ac:inkMkLst>
            <pc:docMk/>
            <pc:sldMk cId="4283712025" sldId="256"/>
            <ac:inkMk id="8" creationId="{68E3E914-966E-4B98-9468-6616E18B7605}"/>
          </ac:inkMkLst>
        </pc:inkChg>
        <pc:inkChg chg="add del mod">
          <ac:chgData name="Jason Foerch" userId="5dc6dd6a-089a-42b7-a432-399fa3a88477" providerId="ADAL" clId="{5FDB8ED9-32F6-474B-8F9F-3173125BE82D}" dt="2020-03-16T15:11:23.106" v="44"/>
          <ac:inkMkLst>
            <pc:docMk/>
            <pc:sldMk cId="4283712025" sldId="256"/>
            <ac:inkMk id="11" creationId="{48CDF6A9-A8C2-458A-88BB-6E0B42C41498}"/>
          </ac:inkMkLst>
        </pc:inkChg>
        <pc:inkChg chg="add del mod">
          <ac:chgData name="Jason Foerch" userId="5dc6dd6a-089a-42b7-a432-399fa3a88477" providerId="ADAL" clId="{5FDB8ED9-32F6-474B-8F9F-3173125BE82D}" dt="2020-03-16T15:12:26.359" v="56"/>
          <ac:inkMkLst>
            <pc:docMk/>
            <pc:sldMk cId="4283712025" sldId="256"/>
            <ac:inkMk id="14" creationId="{FEA6CD61-13B8-4A24-BA20-1BAC37DB7375}"/>
          </ac:inkMkLst>
        </pc:inkChg>
        <pc:inkChg chg="add del mod">
          <ac:chgData name="Jason Foerch" userId="5dc6dd6a-089a-42b7-a432-399fa3a88477" providerId="ADAL" clId="{5FDB8ED9-32F6-474B-8F9F-3173125BE82D}" dt="2020-03-16T15:12:26.362" v="57"/>
          <ac:inkMkLst>
            <pc:docMk/>
            <pc:sldMk cId="4283712025" sldId="256"/>
            <ac:inkMk id="20" creationId="{F45BB205-3C31-43AE-95C5-A86AA76B067B}"/>
          </ac:inkMkLst>
        </pc:inkChg>
        <pc:inkChg chg="add del mod">
          <ac:chgData name="Jason Foerch" userId="5dc6dd6a-089a-42b7-a432-399fa3a88477" providerId="ADAL" clId="{5FDB8ED9-32F6-474B-8F9F-3173125BE82D}" dt="2020-03-16T15:12:26.358" v="55"/>
          <ac:inkMkLst>
            <pc:docMk/>
            <pc:sldMk cId="4283712025" sldId="256"/>
            <ac:inkMk id="21" creationId="{76BC77D1-0020-490A-A8E5-3BEEDD97ECCA}"/>
          </ac:inkMkLst>
        </pc:inkChg>
        <pc:inkChg chg="add del mod">
          <ac:chgData name="Jason Foerch" userId="5dc6dd6a-089a-42b7-a432-399fa3a88477" providerId="ADAL" clId="{5FDB8ED9-32F6-474B-8F9F-3173125BE82D}" dt="2020-03-16T15:12:26.356" v="54"/>
          <ac:inkMkLst>
            <pc:docMk/>
            <pc:sldMk cId="4283712025" sldId="256"/>
            <ac:inkMk id="22" creationId="{3F6C6E8F-1DBA-4F38-A89A-E85DBA871C1A}"/>
          </ac:inkMkLst>
        </pc:inkChg>
        <pc:inkChg chg="add del mod">
          <ac:chgData name="Jason Foerch" userId="5dc6dd6a-089a-42b7-a432-399fa3a88477" providerId="ADAL" clId="{5FDB8ED9-32F6-474B-8F9F-3173125BE82D}" dt="2020-03-16T15:11:23.107" v="45"/>
          <ac:inkMkLst>
            <pc:docMk/>
            <pc:sldMk cId="4283712025" sldId="256"/>
            <ac:inkMk id="24" creationId="{01047A82-EE2C-4A2D-B83B-4E52D31F1337}"/>
          </ac:inkMkLst>
        </pc:inkChg>
        <pc:inkChg chg="add del mod">
          <ac:chgData name="Jason Foerch" userId="5dc6dd6a-089a-42b7-a432-399fa3a88477" providerId="ADAL" clId="{5FDB8ED9-32F6-474B-8F9F-3173125BE82D}" dt="2020-03-16T15:11:23.104" v="42"/>
          <ac:inkMkLst>
            <pc:docMk/>
            <pc:sldMk cId="4283712025" sldId="256"/>
            <ac:inkMk id="25" creationId="{4CBF448A-ECEB-4986-82E7-5570F053DB73}"/>
          </ac:inkMkLst>
        </pc:inkChg>
        <pc:inkChg chg="add del mod">
          <ac:chgData name="Jason Foerch" userId="5dc6dd6a-089a-42b7-a432-399fa3a88477" providerId="ADAL" clId="{5FDB8ED9-32F6-474B-8F9F-3173125BE82D}" dt="2020-03-16T15:11:23.105" v="43"/>
          <ac:inkMkLst>
            <pc:docMk/>
            <pc:sldMk cId="4283712025" sldId="256"/>
            <ac:inkMk id="26" creationId="{D80EBC69-7444-4AE5-8D9E-9D887DA0260D}"/>
          </ac:inkMkLst>
        </pc:inkChg>
        <pc:inkChg chg="add del mod">
          <ac:chgData name="Jason Foerch" userId="5dc6dd6a-089a-42b7-a432-399fa3a88477" providerId="ADAL" clId="{5FDB8ED9-32F6-474B-8F9F-3173125BE82D}" dt="2020-03-16T15:11:23.109" v="46"/>
          <ac:inkMkLst>
            <pc:docMk/>
            <pc:sldMk cId="4283712025" sldId="256"/>
            <ac:inkMk id="27" creationId="{72E95EAA-DF77-4DF1-8168-F8AD1036E17A}"/>
          </ac:inkMkLst>
        </pc:inkChg>
        <pc:inkChg chg="add del mod">
          <ac:chgData name="Jason Foerch" userId="5dc6dd6a-089a-42b7-a432-399fa3a88477" providerId="ADAL" clId="{5FDB8ED9-32F6-474B-8F9F-3173125BE82D}" dt="2020-03-16T15:11:23.101" v="40"/>
          <ac:inkMkLst>
            <pc:docMk/>
            <pc:sldMk cId="4283712025" sldId="256"/>
            <ac:inkMk id="29" creationId="{39557173-ABD5-4F0E-88C5-1475B3B558AC}"/>
          </ac:inkMkLst>
        </pc:inkChg>
        <pc:inkChg chg="add del">
          <ac:chgData name="Jason Foerch" userId="5dc6dd6a-089a-42b7-a432-399fa3a88477" providerId="ADAL" clId="{5FDB8ED9-32F6-474B-8F9F-3173125BE82D}" dt="2020-03-16T15:12:04.049" v="49"/>
          <ac:inkMkLst>
            <pc:docMk/>
            <pc:sldMk cId="4283712025" sldId="256"/>
            <ac:inkMk id="30" creationId="{59C3B59E-3B6F-4B7B-A37C-F733DCBA0D65}"/>
          </ac:inkMkLst>
        </pc:inkChg>
        <pc:inkChg chg="add del">
          <ac:chgData name="Jason Foerch" userId="5dc6dd6a-089a-42b7-a432-399fa3a88477" providerId="ADAL" clId="{5FDB8ED9-32F6-474B-8F9F-3173125BE82D}" dt="2020-03-16T15:12:05.249" v="50"/>
          <ac:inkMkLst>
            <pc:docMk/>
            <pc:sldMk cId="4283712025" sldId="256"/>
            <ac:inkMk id="32" creationId="{9C87CACC-D57C-4EAB-BFB7-A17FB0D3E763}"/>
          </ac:inkMkLst>
        </pc:inkChg>
        <pc:inkChg chg="add del mod">
          <ac:chgData name="Jason Foerch" userId="5dc6dd6a-089a-42b7-a432-399fa3a88477" providerId="ADAL" clId="{5FDB8ED9-32F6-474B-8F9F-3173125BE82D}" dt="2020-03-16T15:12:27.851" v="59"/>
          <ac:inkMkLst>
            <pc:docMk/>
            <pc:sldMk cId="4283712025" sldId="256"/>
            <ac:inkMk id="33" creationId="{8F35A9EA-EFB1-48AD-B665-C1008AA629B4}"/>
          </ac:inkMkLst>
        </pc:inkChg>
        <pc:inkChg chg="add del mod">
          <ac:chgData name="Jason Foerch" userId="5dc6dd6a-089a-42b7-a432-399fa3a88477" providerId="ADAL" clId="{5FDB8ED9-32F6-474B-8F9F-3173125BE82D}" dt="2020-03-16T15:12:27.849" v="58"/>
          <ac:inkMkLst>
            <pc:docMk/>
            <pc:sldMk cId="4283712025" sldId="256"/>
            <ac:inkMk id="34" creationId="{4F781C13-43FD-42C0-B5E6-494E63E84CE1}"/>
          </ac:inkMkLst>
        </pc:inkChg>
        <pc:inkChg chg="add mod">
          <ac:chgData name="Jason Foerch" userId="5dc6dd6a-089a-42b7-a432-399fa3a88477" providerId="ADAL" clId="{5FDB8ED9-32F6-474B-8F9F-3173125BE82D}" dt="2020-03-16T15:15:58.754" v="217"/>
          <ac:inkMkLst>
            <pc:docMk/>
            <pc:sldMk cId="4283712025" sldId="256"/>
            <ac:inkMk id="36" creationId="{662D06D5-612C-4798-A4B8-E0A9E16433E1}"/>
          </ac:inkMkLst>
        </pc:inkChg>
        <pc:inkChg chg="add mod">
          <ac:chgData name="Jason Foerch" userId="5dc6dd6a-089a-42b7-a432-399fa3a88477" providerId="ADAL" clId="{5FDB8ED9-32F6-474B-8F9F-3173125BE82D}" dt="2020-03-16T15:15:58.754" v="217"/>
          <ac:inkMkLst>
            <pc:docMk/>
            <pc:sldMk cId="4283712025" sldId="256"/>
            <ac:inkMk id="37" creationId="{1E8257EF-74AC-4A30-B6E4-8DC810F7D0DE}"/>
          </ac:inkMkLst>
        </pc:inkChg>
        <pc:inkChg chg="add del">
          <ac:chgData name="Jason Foerch" userId="5dc6dd6a-089a-42b7-a432-399fa3a88477" providerId="ADAL" clId="{5FDB8ED9-32F6-474B-8F9F-3173125BE82D}" dt="2020-03-16T15:16:42.676" v="220" actId="478"/>
          <ac:inkMkLst>
            <pc:docMk/>
            <pc:sldMk cId="4283712025" sldId="256"/>
            <ac:inkMk id="39" creationId="{25B2D046-BC92-495B-A174-2828D93CDB21}"/>
          </ac:inkMkLst>
        </pc:inkChg>
      </pc:sldChg>
      <pc:sldChg chg="addSp delSp modSp mod ord">
        <pc:chgData name="Jason Foerch" userId="5dc6dd6a-089a-42b7-a432-399fa3a88477" providerId="ADAL" clId="{5FDB8ED9-32F6-474B-8F9F-3173125BE82D}" dt="2020-05-05T17:23:02.870" v="6335" actId="20577"/>
        <pc:sldMkLst>
          <pc:docMk/>
          <pc:sldMk cId="2584029683" sldId="257"/>
        </pc:sldMkLst>
        <pc:spChg chg="mod">
          <ac:chgData name="Jason Foerch" userId="5dc6dd6a-089a-42b7-a432-399fa3a88477" providerId="ADAL" clId="{5FDB8ED9-32F6-474B-8F9F-3173125BE82D}" dt="2020-05-05T17:23:02.870" v="6335" actId="20577"/>
          <ac:spMkLst>
            <pc:docMk/>
            <pc:sldMk cId="2584029683" sldId="257"/>
            <ac:spMk id="4" creationId="{C07C45B8-4983-4FFB-BD8B-B2F43686E476}"/>
          </ac:spMkLst>
        </pc:spChg>
        <pc:grpChg chg="add del">
          <ac:chgData name="Jason Foerch" userId="5dc6dd6a-089a-42b7-a432-399fa3a88477" providerId="ADAL" clId="{5FDB8ED9-32F6-474B-8F9F-3173125BE82D}" dt="2020-03-16T19:28:11.512" v="1513"/>
          <ac:grpSpMkLst>
            <pc:docMk/>
            <pc:sldMk cId="2584029683" sldId="257"/>
            <ac:grpSpMk id="6" creationId="{60FF02E0-3944-4CF7-B0DD-699F982FB7B9}"/>
          </ac:grpSpMkLst>
        </pc:grpChg>
        <pc:grpChg chg="add del">
          <ac:chgData name="Jason Foerch" userId="5dc6dd6a-089a-42b7-a432-399fa3a88477" providerId="ADAL" clId="{5FDB8ED9-32F6-474B-8F9F-3173125BE82D}" dt="2020-03-17T12:20:25.938" v="3063"/>
          <ac:grpSpMkLst>
            <pc:docMk/>
            <pc:sldMk cId="2584029683" sldId="257"/>
            <ac:grpSpMk id="6" creationId="{EC7DD8BE-62F9-4495-98ED-552E1F11E6C7}"/>
          </ac:grpSpMkLst>
        </pc:grpChg>
        <pc:grpChg chg="add del">
          <ac:chgData name="Jason Foerch" userId="5dc6dd6a-089a-42b7-a432-399fa3a88477" providerId="ADAL" clId="{5FDB8ED9-32F6-474B-8F9F-3173125BE82D}" dt="2020-03-17T12:24:13.107" v="3108"/>
          <ac:grpSpMkLst>
            <pc:docMk/>
            <pc:sldMk cId="2584029683" sldId="257"/>
            <ac:grpSpMk id="16" creationId="{10EC3FED-B1D5-4912-AB27-E93E1BCDEB0C}"/>
          </ac:grpSpMkLst>
        </pc:grpChg>
        <pc:graphicFrameChg chg="mod modGraphic">
          <ac:chgData name="Jason Foerch" userId="5dc6dd6a-089a-42b7-a432-399fa3a88477" providerId="ADAL" clId="{5FDB8ED9-32F6-474B-8F9F-3173125BE82D}" dt="2020-05-04T20:23:19.368" v="5915" actId="20577"/>
          <ac:graphicFrameMkLst>
            <pc:docMk/>
            <pc:sldMk cId="2584029683" sldId="257"/>
            <ac:graphicFrameMk id="35" creationId="{8ED9BE5A-E89B-43D7-B6FE-223D219DC8AD}"/>
          </ac:graphicFrameMkLst>
        </pc:graphicFrameChg>
        <pc:picChg chg="add del mod">
          <ac:chgData name="Jason Foerch" userId="5dc6dd6a-089a-42b7-a432-399fa3a88477" providerId="ADAL" clId="{5FDB8ED9-32F6-474B-8F9F-3173125BE82D}" dt="2020-03-17T12:20:40.799" v="3068" actId="478"/>
          <ac:picMkLst>
            <pc:docMk/>
            <pc:sldMk cId="2584029683" sldId="257"/>
            <ac:picMk id="2" creationId="{B6FA63E0-C0AD-457D-AEA4-638CC4A89EBF}"/>
          </ac:picMkLst>
        </pc:picChg>
        <pc:picChg chg="add mod">
          <ac:chgData name="Jason Foerch" userId="5dc6dd6a-089a-42b7-a432-399fa3a88477" providerId="ADAL" clId="{5FDB8ED9-32F6-474B-8F9F-3173125BE82D}" dt="2020-05-04T20:07:59.473" v="5775" actId="1076"/>
          <ac:picMkLst>
            <pc:docMk/>
            <pc:sldMk cId="2584029683" sldId="257"/>
            <ac:picMk id="2" creationId="{EC0E946A-E16F-4B64-A97E-8322F4566FEC}"/>
          </ac:picMkLst>
        </pc:picChg>
        <pc:picChg chg="add del mod ord">
          <ac:chgData name="Jason Foerch" userId="5dc6dd6a-089a-42b7-a432-399fa3a88477" providerId="ADAL" clId="{5FDB8ED9-32F6-474B-8F9F-3173125BE82D}" dt="2020-03-17T12:24:25.340" v="3113" actId="478"/>
          <ac:picMkLst>
            <pc:docMk/>
            <pc:sldMk cId="2584029683" sldId="257"/>
            <ac:picMk id="3" creationId="{46312D0A-4E49-47F8-A4D9-AAED533DDC55}"/>
          </ac:picMkLst>
        </pc:picChg>
        <pc:picChg chg="add del mod ord">
          <ac:chgData name="Jason Foerch" userId="5dc6dd6a-089a-42b7-a432-399fa3a88477" providerId="ADAL" clId="{5FDB8ED9-32F6-474B-8F9F-3173125BE82D}" dt="2020-05-04T20:06:25.120" v="5758" actId="478"/>
          <ac:picMkLst>
            <pc:docMk/>
            <pc:sldMk cId="2584029683" sldId="257"/>
            <ac:picMk id="5" creationId="{2B9D77B6-05C5-42D8-ABE0-EF544B55095A}"/>
          </ac:picMkLst>
        </pc:picChg>
        <pc:picChg chg="del">
          <ac:chgData name="Jason Foerch" userId="5dc6dd6a-089a-42b7-a432-399fa3a88477" providerId="ADAL" clId="{5FDB8ED9-32F6-474B-8F9F-3173125BE82D}" dt="2020-03-16T19:28:07.140" v="1511" actId="478"/>
          <ac:picMkLst>
            <pc:docMk/>
            <pc:sldMk cId="2584029683" sldId="257"/>
            <ac:picMk id="34" creationId="{E573D732-E134-42C2-90B6-C451209E48FA}"/>
          </ac:picMkLst>
        </pc:picChg>
      </pc:sldChg>
      <pc:sldChg chg="modSp del ord">
        <pc:chgData name="Jason Foerch" userId="5dc6dd6a-089a-42b7-a432-399fa3a88477" providerId="ADAL" clId="{5FDB8ED9-32F6-474B-8F9F-3173125BE82D}" dt="2020-03-16T20:48:28.212" v="2386" actId="47"/>
        <pc:sldMkLst>
          <pc:docMk/>
          <pc:sldMk cId="3507160123" sldId="258"/>
        </pc:sldMkLst>
        <pc:graphicFrameChg chg="modGraphic">
          <ac:chgData name="Jason Foerch" userId="5dc6dd6a-089a-42b7-a432-399fa3a88477" providerId="ADAL" clId="{5FDB8ED9-32F6-474B-8F9F-3173125BE82D}" dt="2020-03-16T20:32:46.302" v="1813" actId="20577"/>
          <ac:graphicFrameMkLst>
            <pc:docMk/>
            <pc:sldMk cId="3507160123" sldId="258"/>
            <ac:graphicFrameMk id="35" creationId="{8ED9BE5A-E89B-43D7-B6FE-223D219DC8AD}"/>
          </ac:graphicFrameMkLst>
        </pc:graphicFrameChg>
      </pc:sldChg>
      <pc:sldChg chg="modSp del">
        <pc:chgData name="Jason Foerch" userId="5dc6dd6a-089a-42b7-a432-399fa3a88477" providerId="ADAL" clId="{5FDB8ED9-32F6-474B-8F9F-3173125BE82D}" dt="2020-03-16T20:45:05.479" v="2233" actId="2696"/>
        <pc:sldMkLst>
          <pc:docMk/>
          <pc:sldMk cId="3775146950" sldId="259"/>
        </pc:sldMkLst>
        <pc:graphicFrameChg chg="mod modGraphic">
          <ac:chgData name="Jason Foerch" userId="5dc6dd6a-089a-42b7-a432-399fa3a88477" providerId="ADAL" clId="{5FDB8ED9-32F6-474B-8F9F-3173125BE82D}" dt="2020-03-16T20:32:06.444" v="1781" actId="2165"/>
          <ac:graphicFrameMkLst>
            <pc:docMk/>
            <pc:sldMk cId="3775146950" sldId="259"/>
            <ac:graphicFrameMk id="35" creationId="{8ED9BE5A-E89B-43D7-B6FE-223D219DC8AD}"/>
          </ac:graphicFrameMkLst>
        </pc:graphicFrameChg>
      </pc:sldChg>
      <pc:sldChg chg="del">
        <pc:chgData name="Jason Foerch" userId="5dc6dd6a-089a-42b7-a432-399fa3a88477" providerId="ADAL" clId="{5FDB8ED9-32F6-474B-8F9F-3173125BE82D}" dt="2020-03-16T20:53:59.670" v="2773" actId="47"/>
        <pc:sldMkLst>
          <pc:docMk/>
          <pc:sldMk cId="2878742121" sldId="260"/>
        </pc:sldMkLst>
      </pc:sldChg>
      <pc:sldChg chg="del">
        <pc:chgData name="Jason Foerch" userId="5dc6dd6a-089a-42b7-a432-399fa3a88477" providerId="ADAL" clId="{5FDB8ED9-32F6-474B-8F9F-3173125BE82D}" dt="2020-03-16T20:53:55.854" v="2771" actId="47"/>
        <pc:sldMkLst>
          <pc:docMk/>
          <pc:sldMk cId="537331681" sldId="261"/>
        </pc:sldMkLst>
      </pc:sldChg>
      <pc:sldChg chg="del ord">
        <pc:chgData name="Jason Foerch" userId="5dc6dd6a-089a-42b7-a432-399fa3a88477" providerId="ADAL" clId="{5FDB8ED9-32F6-474B-8F9F-3173125BE82D}" dt="2020-03-16T20:53:57.359" v="2772" actId="47"/>
        <pc:sldMkLst>
          <pc:docMk/>
          <pc:sldMk cId="2219128191" sldId="262"/>
        </pc:sldMkLst>
      </pc:sldChg>
      <pc:sldChg chg="addSp delSp modSp add del mod ord">
        <pc:chgData name="Jason Foerch" userId="5dc6dd6a-089a-42b7-a432-399fa3a88477" providerId="ADAL" clId="{5FDB8ED9-32F6-474B-8F9F-3173125BE82D}" dt="2020-05-04T20:13:29.789" v="5883" actId="47"/>
        <pc:sldMkLst>
          <pc:docMk/>
          <pc:sldMk cId="4168054256" sldId="263"/>
        </pc:sldMkLst>
        <pc:spChg chg="add mod">
          <ac:chgData name="Jason Foerch" userId="5dc6dd6a-089a-42b7-a432-399fa3a88477" providerId="ADAL" clId="{5FDB8ED9-32F6-474B-8F9F-3173125BE82D}" dt="2020-03-16T19:25:39.181" v="1493" actId="2711"/>
          <ac:spMkLst>
            <pc:docMk/>
            <pc:sldMk cId="4168054256" sldId="263"/>
            <ac:spMk id="2" creationId="{58B3E134-A630-437B-BA6E-1FED6A986F87}"/>
          </ac:spMkLst>
        </pc:spChg>
        <pc:spChg chg="add mod">
          <ac:chgData name="Jason Foerch" userId="5dc6dd6a-089a-42b7-a432-399fa3a88477" providerId="ADAL" clId="{5FDB8ED9-32F6-474B-8F9F-3173125BE82D}" dt="2020-03-16T19:25:39.181" v="1493" actId="2711"/>
          <ac:spMkLst>
            <pc:docMk/>
            <pc:sldMk cId="4168054256" sldId="263"/>
            <ac:spMk id="3" creationId="{11B16CAD-1709-4F15-ADA6-0F66BCEA0E78}"/>
          </ac:spMkLst>
        </pc:spChg>
        <pc:spChg chg="add del mod">
          <ac:chgData name="Jason Foerch" userId="5dc6dd6a-089a-42b7-a432-399fa3a88477" providerId="ADAL" clId="{5FDB8ED9-32F6-474B-8F9F-3173125BE82D}" dt="2020-03-17T12:26:33.636" v="3134"/>
          <ac:spMkLst>
            <pc:docMk/>
            <pc:sldMk cId="4168054256" sldId="263"/>
            <ac:spMk id="6" creationId="{9B55E125-90E7-46CE-B1B4-B3E173818885}"/>
          </ac:spMkLst>
        </pc:spChg>
        <pc:spChg chg="add del mod">
          <ac:chgData name="Jason Foerch" userId="5dc6dd6a-089a-42b7-a432-399fa3a88477" providerId="ADAL" clId="{5FDB8ED9-32F6-474B-8F9F-3173125BE82D}" dt="2020-03-16T20:50:54.742" v="2633" actId="478"/>
          <ac:spMkLst>
            <pc:docMk/>
            <pc:sldMk cId="4168054256" sldId="263"/>
            <ac:spMk id="6" creationId="{F858233B-3D6F-4FF1-A8CF-3D81C5A39D64}"/>
          </ac:spMkLst>
        </pc:spChg>
        <pc:spChg chg="add mod">
          <ac:chgData name="Jason Foerch" userId="5dc6dd6a-089a-42b7-a432-399fa3a88477" providerId="ADAL" clId="{5FDB8ED9-32F6-474B-8F9F-3173125BE82D}" dt="2020-05-04T20:11:35.091" v="5832" actId="14100"/>
          <ac:spMkLst>
            <pc:docMk/>
            <pc:sldMk cId="4168054256" sldId="263"/>
            <ac:spMk id="7" creationId="{D22A90E1-E73A-40F9-B903-FB93141EA5EF}"/>
          </ac:spMkLst>
        </pc:spChg>
        <pc:spChg chg="mod">
          <ac:chgData name="Jason Foerch" userId="5dc6dd6a-089a-42b7-a432-399fa3a88477" providerId="ADAL" clId="{5FDB8ED9-32F6-474B-8F9F-3173125BE82D}" dt="2020-03-16T19:25:39.181" v="1493" actId="2711"/>
          <ac:spMkLst>
            <pc:docMk/>
            <pc:sldMk cId="4168054256" sldId="263"/>
            <ac:spMk id="10" creationId="{67239103-D575-423F-8B20-3CE1A52423B7}"/>
          </ac:spMkLst>
        </pc:spChg>
        <pc:spChg chg="add mod">
          <ac:chgData name="Jason Foerch" userId="5dc6dd6a-089a-42b7-a432-399fa3a88477" providerId="ADAL" clId="{5FDB8ED9-32F6-474B-8F9F-3173125BE82D}" dt="2020-03-16T19:25:39.181" v="1493" actId="2711"/>
          <ac:spMkLst>
            <pc:docMk/>
            <pc:sldMk cId="4168054256" sldId="263"/>
            <ac:spMk id="11" creationId="{A9D1667F-FA89-47A1-AEF1-54EAD057CD1F}"/>
          </ac:spMkLst>
        </pc:spChg>
        <pc:spChg chg="add mod">
          <ac:chgData name="Jason Foerch" userId="5dc6dd6a-089a-42b7-a432-399fa3a88477" providerId="ADAL" clId="{5FDB8ED9-32F6-474B-8F9F-3173125BE82D}" dt="2020-05-04T19:55:51.056" v="5520" actId="20577"/>
          <ac:spMkLst>
            <pc:docMk/>
            <pc:sldMk cId="4168054256" sldId="263"/>
            <ac:spMk id="13" creationId="{F88EB931-00C1-4BD1-B6A7-0371E85BE99A}"/>
          </ac:spMkLst>
        </pc:spChg>
        <pc:spChg chg="add mod">
          <ac:chgData name="Jason Foerch" userId="5dc6dd6a-089a-42b7-a432-399fa3a88477" providerId="ADAL" clId="{5FDB8ED9-32F6-474B-8F9F-3173125BE82D}" dt="2020-05-04T19:58:04.064" v="5597" actId="20577"/>
          <ac:spMkLst>
            <pc:docMk/>
            <pc:sldMk cId="4168054256" sldId="263"/>
            <ac:spMk id="14" creationId="{7711D21B-C738-4C6F-A1F8-D722F3F7E2D7}"/>
          </ac:spMkLst>
        </pc:spChg>
        <pc:spChg chg="add del mod">
          <ac:chgData name="Jason Foerch" userId="5dc6dd6a-089a-42b7-a432-399fa3a88477" providerId="ADAL" clId="{5FDB8ED9-32F6-474B-8F9F-3173125BE82D}" dt="2020-03-17T12:26:26.724" v="3132"/>
          <ac:spMkLst>
            <pc:docMk/>
            <pc:sldMk cId="4168054256" sldId="263"/>
            <ac:spMk id="15" creationId="{E63CC307-674F-4B49-8AEE-449860C84836}"/>
          </ac:spMkLst>
        </pc:spChg>
        <pc:spChg chg="add del mod topLvl">
          <ac:chgData name="Jason Foerch" userId="5dc6dd6a-089a-42b7-a432-399fa3a88477" providerId="ADAL" clId="{5FDB8ED9-32F6-474B-8F9F-3173125BE82D}" dt="2020-03-16T20:51:17.581" v="2636"/>
          <ac:spMkLst>
            <pc:docMk/>
            <pc:sldMk cId="4168054256" sldId="263"/>
            <ac:spMk id="17" creationId="{279F3189-0C50-475F-9095-7D2E17822645}"/>
          </ac:spMkLst>
        </pc:spChg>
        <pc:spChg chg="add mod">
          <ac:chgData name="Jason Foerch" userId="5dc6dd6a-089a-42b7-a432-399fa3a88477" providerId="ADAL" clId="{5FDB8ED9-32F6-474B-8F9F-3173125BE82D}" dt="2020-05-04T20:11:37.802" v="5833" actId="14100"/>
          <ac:spMkLst>
            <pc:docMk/>
            <pc:sldMk cId="4168054256" sldId="263"/>
            <ac:spMk id="17" creationId="{B72F1C58-6828-4CA2-9D31-F3BAC44736D9}"/>
          </ac:spMkLst>
        </pc:spChg>
        <pc:spChg chg="mod">
          <ac:chgData name="Jason Foerch" userId="5dc6dd6a-089a-42b7-a432-399fa3a88477" providerId="ADAL" clId="{5FDB8ED9-32F6-474B-8F9F-3173125BE82D}" dt="2020-03-16T19:25:39.181" v="1493" actId="2711"/>
          <ac:spMkLst>
            <pc:docMk/>
            <pc:sldMk cId="4168054256" sldId="263"/>
            <ac:spMk id="41" creationId="{127047F8-FEDB-43A1-AFF9-54D4E02E9811}"/>
          </ac:spMkLst>
        </pc:spChg>
        <pc:spChg chg="mod">
          <ac:chgData name="Jason Foerch" userId="5dc6dd6a-089a-42b7-a432-399fa3a88477" providerId="ADAL" clId="{5FDB8ED9-32F6-474B-8F9F-3173125BE82D}" dt="2020-03-16T19:25:39.181" v="1493" actId="2711"/>
          <ac:spMkLst>
            <pc:docMk/>
            <pc:sldMk cId="4168054256" sldId="263"/>
            <ac:spMk id="42" creationId="{B57DE825-AC95-433A-AD29-B48300DDAC24}"/>
          </ac:spMkLst>
        </pc:spChg>
        <pc:spChg chg="mod">
          <ac:chgData name="Jason Foerch" userId="5dc6dd6a-089a-42b7-a432-399fa3a88477" providerId="ADAL" clId="{5FDB8ED9-32F6-474B-8F9F-3173125BE82D}" dt="2020-03-16T19:25:39.181" v="1493" actId="2711"/>
          <ac:spMkLst>
            <pc:docMk/>
            <pc:sldMk cId="4168054256" sldId="263"/>
            <ac:spMk id="43" creationId="{68EEC265-E34B-4974-9B42-90AA49BF2242}"/>
          </ac:spMkLst>
        </pc:spChg>
        <pc:spChg chg="mod">
          <ac:chgData name="Jason Foerch" userId="5dc6dd6a-089a-42b7-a432-399fa3a88477" providerId="ADAL" clId="{5FDB8ED9-32F6-474B-8F9F-3173125BE82D}" dt="2020-03-16T19:25:39.181" v="1493" actId="2711"/>
          <ac:spMkLst>
            <pc:docMk/>
            <pc:sldMk cId="4168054256" sldId="263"/>
            <ac:spMk id="44" creationId="{C4B1D6C7-3160-4331-80FB-8DBB87B964FC}"/>
          </ac:spMkLst>
        </pc:spChg>
        <pc:spChg chg="del mod">
          <ac:chgData name="Jason Foerch" userId="5dc6dd6a-089a-42b7-a432-399fa3a88477" providerId="ADAL" clId="{5FDB8ED9-32F6-474B-8F9F-3173125BE82D}" dt="2020-03-16T17:30:40.465" v="816" actId="478"/>
          <ac:spMkLst>
            <pc:docMk/>
            <pc:sldMk cId="4168054256" sldId="263"/>
            <ac:spMk id="46" creationId="{7AE97140-AAE9-476E-BB76-CD06FBD23C44}"/>
          </ac:spMkLst>
        </pc:spChg>
        <pc:spChg chg="mod">
          <ac:chgData name="Jason Foerch" userId="5dc6dd6a-089a-42b7-a432-399fa3a88477" providerId="ADAL" clId="{5FDB8ED9-32F6-474B-8F9F-3173125BE82D}" dt="2020-03-17T12:18:26.117" v="3048" actId="20577"/>
          <ac:spMkLst>
            <pc:docMk/>
            <pc:sldMk cId="4168054256" sldId="263"/>
            <ac:spMk id="47" creationId="{C08D3209-2199-4E75-A5CB-5B006C1F1A56}"/>
          </ac:spMkLst>
        </pc:spChg>
        <pc:spChg chg="del">
          <ac:chgData name="Jason Foerch" userId="5dc6dd6a-089a-42b7-a432-399fa3a88477" providerId="ADAL" clId="{5FDB8ED9-32F6-474B-8F9F-3173125BE82D}" dt="2020-03-16T15:59:53.666" v="750" actId="478"/>
          <ac:spMkLst>
            <pc:docMk/>
            <pc:sldMk cId="4168054256" sldId="263"/>
            <ac:spMk id="48" creationId="{B4833EFA-6DAC-4C6F-91CD-E213B5C4294F}"/>
          </ac:spMkLst>
        </pc:spChg>
        <pc:grpChg chg="add mod topLvl">
          <ac:chgData name="Jason Foerch" userId="5dc6dd6a-089a-42b7-a432-399fa3a88477" providerId="ADAL" clId="{5FDB8ED9-32F6-474B-8F9F-3173125BE82D}" dt="2020-05-04T19:57:18.509" v="5536" actId="164"/>
          <ac:grpSpMkLst>
            <pc:docMk/>
            <pc:sldMk cId="4168054256" sldId="263"/>
            <ac:grpSpMk id="4" creationId="{81BBF882-485A-456C-85FC-9CB9A020E534}"/>
          </ac:grpSpMkLst>
        </pc:grpChg>
        <pc:grpChg chg="add mod">
          <ac:chgData name="Jason Foerch" userId="5dc6dd6a-089a-42b7-a432-399fa3a88477" providerId="ADAL" clId="{5FDB8ED9-32F6-474B-8F9F-3173125BE82D}" dt="2020-03-16T19:20:54.506" v="1090" actId="164"/>
          <ac:grpSpMkLst>
            <pc:docMk/>
            <pc:sldMk cId="4168054256" sldId="263"/>
            <ac:grpSpMk id="5" creationId="{29A05D10-0C08-4611-A2C8-652828D3CB95}"/>
          </ac:grpSpMkLst>
        </pc:grpChg>
        <pc:grpChg chg="add mod">
          <ac:chgData name="Jason Foerch" userId="5dc6dd6a-089a-42b7-a432-399fa3a88477" providerId="ADAL" clId="{5FDB8ED9-32F6-474B-8F9F-3173125BE82D}" dt="2020-05-04T20:06:12.256" v="5756" actId="1036"/>
          <ac:grpSpMkLst>
            <pc:docMk/>
            <pc:sldMk cId="4168054256" sldId="263"/>
            <ac:grpSpMk id="6" creationId="{F100C3D0-B704-48A9-BB73-B3B39171029C}"/>
          </ac:grpSpMkLst>
        </pc:grpChg>
        <pc:grpChg chg="add del mod">
          <ac:chgData name="Jason Foerch" userId="5dc6dd6a-089a-42b7-a432-399fa3a88477" providerId="ADAL" clId="{5FDB8ED9-32F6-474B-8F9F-3173125BE82D}" dt="2020-03-16T20:51:17.581" v="2636"/>
          <ac:grpSpMkLst>
            <pc:docMk/>
            <pc:sldMk cId="4168054256" sldId="263"/>
            <ac:grpSpMk id="7" creationId="{298FF394-5DD3-4E70-BE59-375D2385235A}"/>
          </ac:grpSpMkLst>
        </pc:grpChg>
        <pc:grpChg chg="add del mod">
          <ac:chgData name="Jason Foerch" userId="5dc6dd6a-089a-42b7-a432-399fa3a88477" providerId="ADAL" clId="{5FDB8ED9-32F6-474B-8F9F-3173125BE82D}" dt="2020-03-17T12:26:33.636" v="3134"/>
          <ac:grpSpMkLst>
            <pc:docMk/>
            <pc:sldMk cId="4168054256" sldId="263"/>
            <ac:grpSpMk id="7" creationId="{A0C36A04-81CA-4491-A3B9-7646D07B9FAC}"/>
          </ac:grpSpMkLst>
        </pc:grpChg>
      </pc:sldChg>
      <pc:sldChg chg="addSp delSp modSp add mod">
        <pc:chgData name="Jason Foerch" userId="5dc6dd6a-089a-42b7-a432-399fa3a88477" providerId="ADAL" clId="{5FDB8ED9-32F6-474B-8F9F-3173125BE82D}" dt="2020-05-04T20:01:27.830" v="5750" actId="14100"/>
        <pc:sldMkLst>
          <pc:docMk/>
          <pc:sldMk cId="1224155370" sldId="264"/>
        </pc:sldMkLst>
        <pc:spChg chg="add del mod">
          <ac:chgData name="Jason Foerch" userId="5dc6dd6a-089a-42b7-a432-399fa3a88477" providerId="ADAL" clId="{5FDB8ED9-32F6-474B-8F9F-3173125BE82D}" dt="2020-03-16T19:21:03.061" v="1091" actId="478"/>
          <ac:spMkLst>
            <pc:docMk/>
            <pc:sldMk cId="1224155370" sldId="264"/>
            <ac:spMk id="8" creationId="{85ACC26A-DFFC-471C-9DC0-E5FAE80B87D7}"/>
          </ac:spMkLst>
        </pc:spChg>
        <pc:spChg chg="mod">
          <ac:chgData name="Jason Foerch" userId="5dc6dd6a-089a-42b7-a432-399fa3a88477" providerId="ADAL" clId="{5FDB8ED9-32F6-474B-8F9F-3173125BE82D}" dt="2020-05-04T20:01:27.830" v="5750" actId="14100"/>
          <ac:spMkLst>
            <pc:docMk/>
            <pc:sldMk cId="1224155370" sldId="264"/>
            <ac:spMk id="10" creationId="{67239103-D575-423F-8B20-3CE1A52423B7}"/>
          </ac:spMkLst>
        </pc:spChg>
        <pc:spChg chg="mod">
          <ac:chgData name="Jason Foerch" userId="5dc6dd6a-089a-42b7-a432-399fa3a88477" providerId="ADAL" clId="{5FDB8ED9-32F6-474B-8F9F-3173125BE82D}" dt="2020-05-04T19:58:23.362" v="5598" actId="255"/>
          <ac:spMkLst>
            <pc:docMk/>
            <pc:sldMk cId="1224155370" sldId="264"/>
            <ac:spMk id="11" creationId="{CDA188C9-3A60-4AAE-9E98-4A4277FEEC20}"/>
          </ac:spMkLst>
        </pc:spChg>
        <pc:spChg chg="mod">
          <ac:chgData name="Jason Foerch" userId="5dc6dd6a-089a-42b7-a432-399fa3a88477" providerId="ADAL" clId="{5FDB8ED9-32F6-474B-8F9F-3173125BE82D}" dt="2020-05-04T19:58:23.362" v="5598" actId="255"/>
          <ac:spMkLst>
            <pc:docMk/>
            <pc:sldMk cId="1224155370" sldId="264"/>
            <ac:spMk id="12" creationId="{D9485679-7BCB-4CCD-9890-F92083DDEA85}"/>
          </ac:spMkLst>
        </pc:spChg>
        <pc:spChg chg="mod">
          <ac:chgData name="Jason Foerch" userId="5dc6dd6a-089a-42b7-a432-399fa3a88477" providerId="ADAL" clId="{5FDB8ED9-32F6-474B-8F9F-3173125BE82D}" dt="2020-05-04T19:58:23.362" v="5598" actId="255"/>
          <ac:spMkLst>
            <pc:docMk/>
            <pc:sldMk cId="1224155370" sldId="264"/>
            <ac:spMk id="13" creationId="{284D2E54-D0CC-4599-9E43-1420C7835110}"/>
          </ac:spMkLst>
        </pc:spChg>
        <pc:spChg chg="mod">
          <ac:chgData name="Jason Foerch" userId="5dc6dd6a-089a-42b7-a432-399fa3a88477" providerId="ADAL" clId="{5FDB8ED9-32F6-474B-8F9F-3173125BE82D}" dt="2020-05-04T19:58:23.362" v="5598" actId="255"/>
          <ac:spMkLst>
            <pc:docMk/>
            <pc:sldMk cId="1224155370" sldId="264"/>
            <ac:spMk id="14" creationId="{6CA68921-3D11-41E4-B391-43822A352E37}"/>
          </ac:spMkLst>
        </pc:spChg>
        <pc:spChg chg="mod">
          <ac:chgData name="Jason Foerch" userId="5dc6dd6a-089a-42b7-a432-399fa3a88477" providerId="ADAL" clId="{5FDB8ED9-32F6-474B-8F9F-3173125BE82D}" dt="2020-05-04T19:58:23.362" v="5598" actId="255"/>
          <ac:spMkLst>
            <pc:docMk/>
            <pc:sldMk cId="1224155370" sldId="264"/>
            <ac:spMk id="15" creationId="{12534374-BCD9-487D-BA6E-1D2E5FC0884D}"/>
          </ac:spMkLst>
        </pc:spChg>
        <pc:spChg chg="mod">
          <ac:chgData name="Jason Foerch" userId="5dc6dd6a-089a-42b7-a432-399fa3a88477" providerId="ADAL" clId="{5FDB8ED9-32F6-474B-8F9F-3173125BE82D}" dt="2020-03-16T19:25:49.139" v="1494" actId="2711"/>
          <ac:spMkLst>
            <pc:docMk/>
            <pc:sldMk cId="1224155370" sldId="264"/>
            <ac:spMk id="17" creationId="{24D963CF-B87E-4D92-BD08-EFC177C57BCF}"/>
          </ac:spMkLst>
        </pc:spChg>
        <pc:spChg chg="mod">
          <ac:chgData name="Jason Foerch" userId="5dc6dd6a-089a-42b7-a432-399fa3a88477" providerId="ADAL" clId="{5FDB8ED9-32F6-474B-8F9F-3173125BE82D}" dt="2020-03-16T19:25:49.139" v="1494" actId="2711"/>
          <ac:spMkLst>
            <pc:docMk/>
            <pc:sldMk cId="1224155370" sldId="264"/>
            <ac:spMk id="18" creationId="{D78FE441-51FA-47AE-816F-7E222970F601}"/>
          </ac:spMkLst>
        </pc:spChg>
        <pc:spChg chg="mod">
          <ac:chgData name="Jason Foerch" userId="5dc6dd6a-089a-42b7-a432-399fa3a88477" providerId="ADAL" clId="{5FDB8ED9-32F6-474B-8F9F-3173125BE82D}" dt="2020-03-16T19:25:49.139" v="1494" actId="2711"/>
          <ac:spMkLst>
            <pc:docMk/>
            <pc:sldMk cId="1224155370" sldId="264"/>
            <ac:spMk id="19" creationId="{1C387F5E-0B0B-4B3C-8059-8ABB78648AB3}"/>
          </ac:spMkLst>
        </pc:spChg>
        <pc:spChg chg="mod">
          <ac:chgData name="Jason Foerch" userId="5dc6dd6a-089a-42b7-a432-399fa3a88477" providerId="ADAL" clId="{5FDB8ED9-32F6-474B-8F9F-3173125BE82D}" dt="2020-03-16T19:25:49.139" v="1494" actId="2711"/>
          <ac:spMkLst>
            <pc:docMk/>
            <pc:sldMk cId="1224155370" sldId="264"/>
            <ac:spMk id="20" creationId="{04E6F6DE-3AD6-43E0-8B0C-647A3F8C36F1}"/>
          </ac:spMkLst>
        </pc:spChg>
        <pc:spChg chg="add mod">
          <ac:chgData name="Jason Foerch" userId="5dc6dd6a-089a-42b7-a432-399fa3a88477" providerId="ADAL" clId="{5FDB8ED9-32F6-474B-8F9F-3173125BE82D}" dt="2020-05-04T19:58:23.362" v="5598" actId="255"/>
          <ac:spMkLst>
            <pc:docMk/>
            <pc:sldMk cId="1224155370" sldId="264"/>
            <ac:spMk id="21" creationId="{1B526CDC-7946-43A8-9086-3049145BEF8A}"/>
          </ac:spMkLst>
        </pc:spChg>
        <pc:spChg chg="add del mod">
          <ac:chgData name="Jason Foerch" userId="5dc6dd6a-089a-42b7-a432-399fa3a88477" providerId="ADAL" clId="{5FDB8ED9-32F6-474B-8F9F-3173125BE82D}" dt="2020-03-16T20:54:08.496" v="2774" actId="478"/>
          <ac:spMkLst>
            <pc:docMk/>
            <pc:sldMk cId="1224155370" sldId="264"/>
            <ac:spMk id="22" creationId="{2751C5BF-4CAD-49D0-A8B5-88A97727DB00}"/>
          </ac:spMkLst>
        </pc:spChg>
        <pc:spChg chg="add del mod">
          <ac:chgData name="Jason Foerch" userId="5dc6dd6a-089a-42b7-a432-399fa3a88477" providerId="ADAL" clId="{5FDB8ED9-32F6-474B-8F9F-3173125BE82D}" dt="2020-04-22T20:47:13.780" v="5468"/>
          <ac:spMkLst>
            <pc:docMk/>
            <pc:sldMk cId="1224155370" sldId="264"/>
            <ac:spMk id="22" creationId="{D1961ADE-63F7-45C5-B05E-F1B4F9941BB4}"/>
          </ac:spMkLst>
        </pc:spChg>
        <pc:spChg chg="add del mod">
          <ac:chgData name="Jason Foerch" userId="5dc6dd6a-089a-42b7-a432-399fa3a88477" providerId="ADAL" clId="{5FDB8ED9-32F6-474B-8F9F-3173125BE82D}" dt="2020-03-17T12:28:46.479" v="3178" actId="478"/>
          <ac:spMkLst>
            <pc:docMk/>
            <pc:sldMk cId="1224155370" sldId="264"/>
            <ac:spMk id="22" creationId="{EB62697B-BB17-458F-A93E-86FEFDE00243}"/>
          </ac:spMkLst>
        </pc:spChg>
        <pc:spChg chg="add del mod topLvl">
          <ac:chgData name="Jason Foerch" userId="5dc6dd6a-089a-42b7-a432-399fa3a88477" providerId="ADAL" clId="{5FDB8ED9-32F6-474B-8F9F-3173125BE82D}" dt="2020-03-16T20:54:10.696" v="2775" actId="478"/>
          <ac:spMkLst>
            <pc:docMk/>
            <pc:sldMk cId="1224155370" sldId="264"/>
            <ac:spMk id="23" creationId="{0F5AEE8C-03CF-4A6C-81EA-63976697FC23}"/>
          </ac:spMkLst>
        </pc:spChg>
        <pc:spChg chg="add del mod topLvl">
          <ac:chgData name="Jason Foerch" userId="5dc6dd6a-089a-42b7-a432-399fa3a88477" providerId="ADAL" clId="{5FDB8ED9-32F6-474B-8F9F-3173125BE82D}" dt="2020-03-17T12:28:48.089" v="3179" actId="478"/>
          <ac:spMkLst>
            <pc:docMk/>
            <pc:sldMk cId="1224155370" sldId="264"/>
            <ac:spMk id="23" creationId="{33B9C7FB-E172-4C52-AA54-19B314E05DA9}"/>
          </ac:spMkLst>
        </pc:spChg>
        <pc:spChg chg="add mod">
          <ac:chgData name="Jason Foerch" userId="5dc6dd6a-089a-42b7-a432-399fa3a88477" providerId="ADAL" clId="{5FDB8ED9-32F6-474B-8F9F-3173125BE82D}" dt="2020-05-04T20:00:17.407" v="5690" actId="255"/>
          <ac:spMkLst>
            <pc:docMk/>
            <pc:sldMk cId="1224155370" sldId="264"/>
            <ac:spMk id="27" creationId="{4E7EB817-567A-4250-AA92-329F433F3203}"/>
          </ac:spMkLst>
        </pc:spChg>
        <pc:spChg chg="add mod">
          <ac:chgData name="Jason Foerch" userId="5dc6dd6a-089a-42b7-a432-399fa3a88477" providerId="ADAL" clId="{5FDB8ED9-32F6-474B-8F9F-3173125BE82D}" dt="2020-05-04T20:00:23.511" v="5691" actId="164"/>
          <ac:spMkLst>
            <pc:docMk/>
            <pc:sldMk cId="1224155370" sldId="264"/>
            <ac:spMk id="28" creationId="{6B925F8A-D5A0-445A-9019-EAFE9A7E0879}"/>
          </ac:spMkLst>
        </pc:spChg>
        <pc:spChg chg="del mod">
          <ac:chgData name="Jason Foerch" userId="5dc6dd6a-089a-42b7-a432-399fa3a88477" providerId="ADAL" clId="{5FDB8ED9-32F6-474B-8F9F-3173125BE82D}" dt="2020-03-16T19:21:03.061" v="1091" actId="478"/>
          <ac:spMkLst>
            <pc:docMk/>
            <pc:sldMk cId="1224155370" sldId="264"/>
            <ac:spMk id="41" creationId="{127047F8-FEDB-43A1-AFF9-54D4E02E9811}"/>
          </ac:spMkLst>
        </pc:spChg>
        <pc:spChg chg="del mod">
          <ac:chgData name="Jason Foerch" userId="5dc6dd6a-089a-42b7-a432-399fa3a88477" providerId="ADAL" clId="{5FDB8ED9-32F6-474B-8F9F-3173125BE82D}" dt="2020-03-16T19:21:03.061" v="1091" actId="478"/>
          <ac:spMkLst>
            <pc:docMk/>
            <pc:sldMk cId="1224155370" sldId="264"/>
            <ac:spMk id="42" creationId="{B57DE825-AC95-433A-AD29-B48300DDAC24}"/>
          </ac:spMkLst>
        </pc:spChg>
        <pc:spChg chg="del mod">
          <ac:chgData name="Jason Foerch" userId="5dc6dd6a-089a-42b7-a432-399fa3a88477" providerId="ADAL" clId="{5FDB8ED9-32F6-474B-8F9F-3173125BE82D}" dt="2020-03-16T19:21:03.061" v="1091" actId="478"/>
          <ac:spMkLst>
            <pc:docMk/>
            <pc:sldMk cId="1224155370" sldId="264"/>
            <ac:spMk id="43" creationId="{68EEC265-E34B-4974-9B42-90AA49BF2242}"/>
          </ac:spMkLst>
        </pc:spChg>
        <pc:spChg chg="del mod">
          <ac:chgData name="Jason Foerch" userId="5dc6dd6a-089a-42b7-a432-399fa3a88477" providerId="ADAL" clId="{5FDB8ED9-32F6-474B-8F9F-3173125BE82D}" dt="2020-03-16T19:21:03.061" v="1091" actId="478"/>
          <ac:spMkLst>
            <pc:docMk/>
            <pc:sldMk cId="1224155370" sldId="264"/>
            <ac:spMk id="44" creationId="{C4B1D6C7-3160-4331-80FB-8DBB87B964FC}"/>
          </ac:spMkLst>
        </pc:spChg>
        <pc:spChg chg="del">
          <ac:chgData name="Jason Foerch" userId="5dc6dd6a-089a-42b7-a432-399fa3a88477" providerId="ADAL" clId="{5FDB8ED9-32F6-474B-8F9F-3173125BE82D}" dt="2020-03-16T19:21:03.061" v="1091" actId="478"/>
          <ac:spMkLst>
            <pc:docMk/>
            <pc:sldMk cId="1224155370" sldId="264"/>
            <ac:spMk id="47" creationId="{C08D3209-2199-4E75-A5CB-5B006C1F1A56}"/>
          </ac:spMkLst>
        </pc:spChg>
        <pc:grpChg chg="add mod topLvl">
          <ac:chgData name="Jason Foerch" userId="5dc6dd6a-089a-42b7-a432-399fa3a88477" providerId="ADAL" clId="{5FDB8ED9-32F6-474B-8F9F-3173125BE82D}" dt="2020-05-04T19:56:45.937" v="5531" actId="164"/>
          <ac:grpSpMkLst>
            <pc:docMk/>
            <pc:sldMk cId="1224155370" sldId="264"/>
            <ac:grpSpMk id="2" creationId="{88AA38BD-4157-4580-9F29-0EE76E8A6D5C}"/>
          </ac:grpSpMkLst>
        </pc:grpChg>
        <pc:grpChg chg="add del mod">
          <ac:chgData name="Jason Foerch" userId="5dc6dd6a-089a-42b7-a432-399fa3a88477" providerId="ADAL" clId="{5FDB8ED9-32F6-474B-8F9F-3173125BE82D}" dt="2020-03-17T12:28:48.089" v="3179" actId="478"/>
          <ac:grpSpMkLst>
            <pc:docMk/>
            <pc:sldMk cId="1224155370" sldId="264"/>
            <ac:grpSpMk id="3" creationId="{5554B762-C222-4BFD-AA6D-8E54A186386F}"/>
          </ac:grpSpMkLst>
        </pc:grpChg>
        <pc:grpChg chg="add del mod">
          <ac:chgData name="Jason Foerch" userId="5dc6dd6a-089a-42b7-a432-399fa3a88477" providerId="ADAL" clId="{5FDB8ED9-32F6-474B-8F9F-3173125BE82D}" dt="2020-03-16T20:54:10.696" v="2775" actId="478"/>
          <ac:grpSpMkLst>
            <pc:docMk/>
            <pc:sldMk cId="1224155370" sldId="264"/>
            <ac:grpSpMk id="3" creationId="{913A2A33-887D-4383-97BB-D9075B34FEBD}"/>
          </ac:grpSpMkLst>
        </pc:grpChg>
        <pc:grpChg chg="add mod">
          <ac:chgData name="Jason Foerch" userId="5dc6dd6a-089a-42b7-a432-399fa3a88477" providerId="ADAL" clId="{5FDB8ED9-32F6-474B-8F9F-3173125BE82D}" dt="2020-05-04T20:00:23.511" v="5691" actId="164"/>
          <ac:grpSpMkLst>
            <pc:docMk/>
            <pc:sldMk cId="1224155370" sldId="264"/>
            <ac:grpSpMk id="3" creationId="{FC907BCC-6BBF-4BE7-92E7-B4C765A40F1A}"/>
          </ac:grpSpMkLst>
        </pc:grpChg>
        <pc:grpChg chg="add mod">
          <ac:chgData name="Jason Foerch" userId="5dc6dd6a-089a-42b7-a432-399fa3a88477" providerId="ADAL" clId="{5FDB8ED9-32F6-474B-8F9F-3173125BE82D}" dt="2020-05-04T20:00:43.136" v="5706" actId="1036"/>
          <ac:grpSpMkLst>
            <pc:docMk/>
            <pc:sldMk cId="1224155370" sldId="264"/>
            <ac:grpSpMk id="4" creationId="{7263AF86-0A81-49A2-8BCF-2349A06A325F}"/>
          </ac:grpSpMkLst>
        </pc:grpChg>
        <pc:grpChg chg="add mod">
          <ac:chgData name="Jason Foerch" userId="5dc6dd6a-089a-42b7-a432-399fa3a88477" providerId="ADAL" clId="{5FDB8ED9-32F6-474B-8F9F-3173125BE82D}" dt="2020-03-16T19:22:07.505" v="1172" actId="164"/>
          <ac:grpSpMkLst>
            <pc:docMk/>
            <pc:sldMk cId="1224155370" sldId="264"/>
            <ac:grpSpMk id="9" creationId="{2020B412-894C-4BC8-9313-EA836F15FF59}"/>
          </ac:grpSpMkLst>
        </pc:grpChg>
        <pc:grpChg chg="add del">
          <ac:chgData name="Jason Foerch" userId="5dc6dd6a-089a-42b7-a432-399fa3a88477" providerId="ADAL" clId="{5FDB8ED9-32F6-474B-8F9F-3173125BE82D}" dt="2020-05-04T20:00:32.086" v="5693" actId="478"/>
          <ac:grpSpMkLst>
            <pc:docMk/>
            <pc:sldMk cId="1224155370" sldId="264"/>
            <ac:grpSpMk id="16" creationId="{F99F3F57-8359-4B03-B7F9-2ED879F87928}"/>
          </ac:grpSpMkLst>
        </pc:grpChg>
        <pc:grpChg chg="add del">
          <ac:chgData name="Jason Foerch" userId="5dc6dd6a-089a-42b7-a432-399fa3a88477" providerId="ADAL" clId="{5FDB8ED9-32F6-474B-8F9F-3173125BE82D}" dt="2020-05-04T20:00:29.035" v="5692" actId="21"/>
          <ac:grpSpMkLst>
            <pc:docMk/>
            <pc:sldMk cId="1224155370" sldId="264"/>
            <ac:grpSpMk id="22" creationId="{27329D5D-17CD-49CC-B85E-351E77BAC52C}"/>
          </ac:grpSpMkLst>
        </pc:grpChg>
        <pc:grpChg chg="add">
          <ac:chgData name="Jason Foerch" userId="5dc6dd6a-089a-42b7-a432-399fa3a88477" providerId="ADAL" clId="{5FDB8ED9-32F6-474B-8F9F-3173125BE82D}" dt="2020-05-04T20:00:32.642" v="5694"/>
          <ac:grpSpMkLst>
            <pc:docMk/>
            <pc:sldMk cId="1224155370" sldId="264"/>
            <ac:grpSpMk id="29" creationId="{5FF7926C-E702-4CB8-A140-17A007A11B9F}"/>
          </ac:grpSpMkLst>
        </pc:grpChg>
        <pc:grpChg chg="del mod">
          <ac:chgData name="Jason Foerch" userId="5dc6dd6a-089a-42b7-a432-399fa3a88477" providerId="ADAL" clId="{5FDB8ED9-32F6-474B-8F9F-3173125BE82D}" dt="2020-03-27T19:40:23.678" v="5261"/>
          <ac:grpSpMkLst>
            <pc:docMk/>
            <pc:sldMk cId="1224155370" sldId="264"/>
            <ac:grpSpMk id="32" creationId="{B81F3058-FCD6-439C-824B-4F8DF5FA92D1}"/>
          </ac:grpSpMkLst>
        </pc:grpChg>
        <pc:grpChg chg="del mod">
          <ac:chgData name="Jason Foerch" userId="5dc6dd6a-089a-42b7-a432-399fa3a88477" providerId="ADAL" clId="{5FDB8ED9-32F6-474B-8F9F-3173125BE82D}" dt="2020-03-27T19:39:50.928" v="5234"/>
          <ac:grpSpMkLst>
            <pc:docMk/>
            <pc:sldMk cId="1224155370" sldId="264"/>
            <ac:grpSpMk id="41" creationId="{062C9E51-FFB7-4B67-98F7-31EA00CD894C}"/>
          </ac:grpSpMkLst>
        </pc:grpChg>
        <pc:grpChg chg="del mod">
          <ac:chgData name="Jason Foerch" userId="5dc6dd6a-089a-42b7-a432-399fa3a88477" providerId="ADAL" clId="{5FDB8ED9-32F6-474B-8F9F-3173125BE82D}" dt="2020-03-27T19:39:54.373" v="5242"/>
          <ac:grpSpMkLst>
            <pc:docMk/>
            <pc:sldMk cId="1224155370" sldId="264"/>
            <ac:grpSpMk id="42" creationId="{37214803-2542-47E4-9BCF-62436BAA4D07}"/>
          </ac:grpSpMkLst>
        </pc:grpChg>
        <pc:grpChg chg="del mod">
          <ac:chgData name="Jason Foerch" userId="5dc6dd6a-089a-42b7-a432-399fa3a88477" providerId="ADAL" clId="{5FDB8ED9-32F6-474B-8F9F-3173125BE82D}" dt="2020-03-27T19:41:24.816" v="5299"/>
          <ac:grpSpMkLst>
            <pc:docMk/>
            <pc:sldMk cId="1224155370" sldId="264"/>
            <ac:grpSpMk id="50" creationId="{B8CB49CA-A532-4311-B4F1-1ECB8AB0CD94}"/>
          </ac:grpSpMkLst>
        </pc:grpChg>
        <pc:grpChg chg="del mod">
          <ac:chgData name="Jason Foerch" userId="5dc6dd6a-089a-42b7-a432-399fa3a88477" providerId="ADAL" clId="{5FDB8ED9-32F6-474B-8F9F-3173125BE82D}" dt="2020-03-27T19:40:23.676" v="5258"/>
          <ac:grpSpMkLst>
            <pc:docMk/>
            <pc:sldMk cId="1224155370" sldId="264"/>
            <ac:grpSpMk id="53" creationId="{1D4D56DE-40B0-4BB1-9FA6-43314EE9D19D}"/>
          </ac:grpSpMkLst>
        </pc:grpChg>
        <pc:grpChg chg="del mod">
          <ac:chgData name="Jason Foerch" userId="5dc6dd6a-089a-42b7-a432-399fa3a88477" providerId="ADAL" clId="{5FDB8ED9-32F6-474B-8F9F-3173125BE82D}" dt="2020-03-27T19:41:04.909" v="5273"/>
          <ac:grpSpMkLst>
            <pc:docMk/>
            <pc:sldMk cId="1224155370" sldId="264"/>
            <ac:grpSpMk id="56" creationId="{D5E8602E-9B9F-453C-8A32-E8B8B370F3F4}"/>
          </ac:grpSpMkLst>
        </pc:grpChg>
        <pc:grpChg chg="del mod">
          <ac:chgData name="Jason Foerch" userId="5dc6dd6a-089a-42b7-a432-399fa3a88477" providerId="ADAL" clId="{5FDB8ED9-32F6-474B-8F9F-3173125BE82D}" dt="2020-03-27T19:41:04.909" v="5273"/>
          <ac:grpSpMkLst>
            <pc:docMk/>
            <pc:sldMk cId="1224155370" sldId="264"/>
            <ac:grpSpMk id="59" creationId="{FDEF6073-3623-417B-B80F-9BDF320D4ED0}"/>
          </ac:grpSpMkLst>
        </pc:grpChg>
        <pc:grpChg chg="del mod">
          <ac:chgData name="Jason Foerch" userId="5dc6dd6a-089a-42b7-a432-399fa3a88477" providerId="ADAL" clId="{5FDB8ED9-32F6-474B-8F9F-3173125BE82D}" dt="2020-03-27T19:41:12.665" v="5276"/>
          <ac:grpSpMkLst>
            <pc:docMk/>
            <pc:sldMk cId="1224155370" sldId="264"/>
            <ac:grpSpMk id="63" creationId="{ADB337DC-4C86-41D2-8087-9CE35C364FDF}"/>
          </ac:grpSpMkLst>
        </pc:grpChg>
        <pc:grpChg chg="del mod">
          <ac:chgData name="Jason Foerch" userId="5dc6dd6a-089a-42b7-a432-399fa3a88477" providerId="ADAL" clId="{5FDB8ED9-32F6-474B-8F9F-3173125BE82D}" dt="2020-03-27T19:41:19.152" v="5280"/>
          <ac:grpSpMkLst>
            <pc:docMk/>
            <pc:sldMk cId="1224155370" sldId="264"/>
            <ac:grpSpMk id="66" creationId="{53162877-5B82-4455-998A-C78B9932D858}"/>
          </ac:grpSpMkLst>
        </pc:grpChg>
        <pc:grpChg chg="del mod">
          <ac:chgData name="Jason Foerch" userId="5dc6dd6a-089a-42b7-a432-399fa3a88477" providerId="ADAL" clId="{5FDB8ED9-32F6-474B-8F9F-3173125BE82D}" dt="2020-03-27T19:42:06.921" v="5311"/>
          <ac:grpSpMkLst>
            <pc:docMk/>
            <pc:sldMk cId="1224155370" sldId="264"/>
            <ac:grpSpMk id="69" creationId="{269C89E0-27B0-4D6B-80ED-F90859BC2C8A}"/>
          </ac:grpSpMkLst>
        </pc:grpChg>
        <pc:grpChg chg="del mod">
          <ac:chgData name="Jason Foerch" userId="5dc6dd6a-089a-42b7-a432-399fa3a88477" providerId="ADAL" clId="{5FDB8ED9-32F6-474B-8F9F-3173125BE82D}" dt="2020-03-27T19:42:06.920" v="5310"/>
          <ac:grpSpMkLst>
            <pc:docMk/>
            <pc:sldMk cId="1224155370" sldId="264"/>
            <ac:grpSpMk id="74" creationId="{1E1D9147-23FC-48B7-91F5-01854AF548B6}"/>
          </ac:grpSpMkLst>
        </pc:grpChg>
        <pc:grpChg chg="del mod">
          <ac:chgData name="Jason Foerch" userId="5dc6dd6a-089a-42b7-a432-399fa3a88477" providerId="ADAL" clId="{5FDB8ED9-32F6-474B-8F9F-3173125BE82D}" dt="2020-03-27T19:43:15.028" v="5324"/>
          <ac:grpSpMkLst>
            <pc:docMk/>
            <pc:sldMk cId="1224155370" sldId="264"/>
            <ac:grpSpMk id="81" creationId="{E97ECFEB-AFEE-413B-85A4-1025D60A458B}"/>
          </ac:grpSpMkLst>
        </pc:grpChg>
        <pc:grpChg chg="del mod">
          <ac:chgData name="Jason Foerch" userId="5dc6dd6a-089a-42b7-a432-399fa3a88477" providerId="ADAL" clId="{5FDB8ED9-32F6-474B-8F9F-3173125BE82D}" dt="2020-03-27T19:43:49.301" v="5337"/>
          <ac:grpSpMkLst>
            <pc:docMk/>
            <pc:sldMk cId="1224155370" sldId="264"/>
            <ac:grpSpMk id="84" creationId="{D5E04ED2-0E25-40C6-92C1-710523432E7F}"/>
          </ac:grpSpMkLst>
        </pc:grpChg>
        <pc:grpChg chg="del mod">
          <ac:chgData name="Jason Foerch" userId="5dc6dd6a-089a-42b7-a432-399fa3a88477" providerId="ADAL" clId="{5FDB8ED9-32F6-474B-8F9F-3173125BE82D}" dt="2020-03-27T19:43:47.455" v="5331"/>
          <ac:grpSpMkLst>
            <pc:docMk/>
            <pc:sldMk cId="1224155370" sldId="264"/>
            <ac:grpSpMk id="88" creationId="{D4870405-8F2C-4828-82DD-215F7B0DDB42}"/>
          </ac:grpSpMkLst>
        </pc:grpChg>
        <pc:grpChg chg="del mod">
          <ac:chgData name="Jason Foerch" userId="5dc6dd6a-089a-42b7-a432-399fa3a88477" providerId="ADAL" clId="{5FDB8ED9-32F6-474B-8F9F-3173125BE82D}" dt="2020-03-27T20:15:39.247" v="5347"/>
          <ac:grpSpMkLst>
            <pc:docMk/>
            <pc:sldMk cId="1224155370" sldId="264"/>
            <ac:grpSpMk id="93" creationId="{24D99A6A-75E5-4F49-91EA-4BF593B398FE}"/>
          </ac:grpSpMkLst>
        </pc:grpChg>
        <pc:grpChg chg="del mod">
          <ac:chgData name="Jason Foerch" userId="5dc6dd6a-089a-42b7-a432-399fa3a88477" providerId="ADAL" clId="{5FDB8ED9-32F6-474B-8F9F-3173125BE82D}" dt="2020-03-27T20:16:56.936" v="5383"/>
          <ac:grpSpMkLst>
            <pc:docMk/>
            <pc:sldMk cId="1224155370" sldId="264"/>
            <ac:grpSpMk id="97" creationId="{254B892E-E53E-4AA8-B733-92BB39D61277}"/>
          </ac:grpSpMkLst>
        </pc:grpChg>
        <pc:grpChg chg="del mod">
          <ac:chgData name="Jason Foerch" userId="5dc6dd6a-089a-42b7-a432-399fa3a88477" providerId="ADAL" clId="{5FDB8ED9-32F6-474B-8F9F-3173125BE82D}" dt="2020-03-27T20:17:03.297" v="5393"/>
          <ac:grpSpMkLst>
            <pc:docMk/>
            <pc:sldMk cId="1224155370" sldId="264"/>
            <ac:grpSpMk id="100" creationId="{03DADE5E-F02F-4629-ABFC-32BB253BDEE2}"/>
          </ac:grpSpMkLst>
        </pc:grpChg>
        <pc:grpChg chg="del mod">
          <ac:chgData name="Jason Foerch" userId="5dc6dd6a-089a-42b7-a432-399fa3a88477" providerId="ADAL" clId="{5FDB8ED9-32F6-474B-8F9F-3173125BE82D}" dt="2020-03-27T20:16:10.523" v="5358"/>
          <ac:grpSpMkLst>
            <pc:docMk/>
            <pc:sldMk cId="1224155370" sldId="264"/>
            <ac:grpSpMk id="105" creationId="{EC8C25BC-3757-448A-8EEF-DFFDB42D9606}"/>
          </ac:grpSpMkLst>
        </pc:grpChg>
        <pc:grpChg chg="del mod">
          <ac:chgData name="Jason Foerch" userId="5dc6dd6a-089a-42b7-a432-399fa3a88477" providerId="ADAL" clId="{5FDB8ED9-32F6-474B-8F9F-3173125BE82D}" dt="2020-03-27T20:17:03.292" v="5388"/>
          <ac:grpSpMkLst>
            <pc:docMk/>
            <pc:sldMk cId="1224155370" sldId="264"/>
            <ac:grpSpMk id="110" creationId="{56AF2995-13BF-4223-8920-6E8BE6E38169}"/>
          </ac:grpSpMkLst>
        </pc:grpChg>
        <pc:grpChg chg="del mod">
          <ac:chgData name="Jason Foerch" userId="5dc6dd6a-089a-42b7-a432-399fa3a88477" providerId="ADAL" clId="{5FDB8ED9-32F6-474B-8F9F-3173125BE82D}" dt="2020-03-27T20:17:03.308" v="5401"/>
          <ac:grpSpMkLst>
            <pc:docMk/>
            <pc:sldMk cId="1224155370" sldId="264"/>
            <ac:grpSpMk id="111" creationId="{0A749DCA-C9B9-45DA-8F12-96F91608EDFB}"/>
          </ac:grpSpMkLst>
        </pc:grpChg>
        <pc:grpChg chg="del mod">
          <ac:chgData name="Jason Foerch" userId="5dc6dd6a-089a-42b7-a432-399fa3a88477" providerId="ADAL" clId="{5FDB8ED9-32F6-474B-8F9F-3173125BE82D}" dt="2020-03-27T20:17:03.287" v="5385"/>
          <ac:grpSpMkLst>
            <pc:docMk/>
            <pc:sldMk cId="1224155370" sldId="264"/>
            <ac:grpSpMk id="114" creationId="{2642FA35-AD8D-42FD-A52C-0BA70923701B}"/>
          </ac:grpSpMkLst>
        </pc:grpChg>
        <pc:grpChg chg="del mod">
          <ac:chgData name="Jason Foerch" userId="5dc6dd6a-089a-42b7-a432-399fa3a88477" providerId="ADAL" clId="{5FDB8ED9-32F6-474B-8F9F-3173125BE82D}" dt="2020-03-27T20:17:03.305" v="5398"/>
          <ac:grpSpMkLst>
            <pc:docMk/>
            <pc:sldMk cId="1224155370" sldId="264"/>
            <ac:grpSpMk id="118" creationId="{D55D1DD2-1962-4CEE-8A50-5E80D666280D}"/>
          </ac:grpSpMkLst>
        </pc:grpChg>
        <pc:grpChg chg="del mod">
          <ac:chgData name="Jason Foerch" userId="5dc6dd6a-089a-42b7-a432-399fa3a88477" providerId="ADAL" clId="{5FDB8ED9-32F6-474B-8F9F-3173125BE82D}" dt="2020-03-27T20:17:03.307" v="5400"/>
          <ac:grpSpMkLst>
            <pc:docMk/>
            <pc:sldMk cId="1224155370" sldId="264"/>
            <ac:grpSpMk id="125" creationId="{B7B701E0-4B9F-436F-A499-F6CE2CC2FD11}"/>
          </ac:grpSpMkLst>
        </pc:grpChg>
        <pc:inkChg chg="add del">
          <ac:chgData name="Jason Foerch" userId="5dc6dd6a-089a-42b7-a432-399fa3a88477" providerId="ADAL" clId="{5FDB8ED9-32F6-474B-8F9F-3173125BE82D}" dt="2020-03-27T19:40:23.669" v="5249"/>
          <ac:inkMkLst>
            <pc:docMk/>
            <pc:sldMk cId="1224155370" sldId="264"/>
            <ac:inkMk id="3" creationId="{34AE36D5-97EB-4C91-B2E1-487C668EA65F}"/>
          </ac:inkMkLst>
        </pc:inkChg>
        <pc:inkChg chg="add del mod">
          <ac:chgData name="Jason Foerch" userId="5dc6dd6a-089a-42b7-a432-399fa3a88477" providerId="ADAL" clId="{5FDB8ED9-32F6-474B-8F9F-3173125BE82D}" dt="2020-03-27T19:40:14.321" v="5246"/>
          <ac:inkMkLst>
            <pc:docMk/>
            <pc:sldMk cId="1224155370" sldId="264"/>
            <ac:inkMk id="4" creationId="{4E831C22-22D9-4C43-AAA9-1719828DCC40}"/>
          </ac:inkMkLst>
        </pc:inkChg>
        <pc:inkChg chg="add del mod">
          <ac:chgData name="Jason Foerch" userId="5dc6dd6a-089a-42b7-a432-399fa3a88477" providerId="ADAL" clId="{5FDB8ED9-32F6-474B-8F9F-3173125BE82D}" dt="2020-03-27T19:40:23.672" v="5252"/>
          <ac:inkMkLst>
            <pc:docMk/>
            <pc:sldMk cId="1224155370" sldId="264"/>
            <ac:inkMk id="5" creationId="{0895ABA2-96C3-4643-A335-1104C763C7DB}"/>
          </ac:inkMkLst>
        </pc:inkChg>
        <pc:inkChg chg="add del mod">
          <ac:chgData name="Jason Foerch" userId="5dc6dd6a-089a-42b7-a432-399fa3a88477" providerId="ADAL" clId="{5FDB8ED9-32F6-474B-8F9F-3173125BE82D}" dt="2020-03-27T19:40:23.669" v="5250"/>
          <ac:inkMkLst>
            <pc:docMk/>
            <pc:sldMk cId="1224155370" sldId="264"/>
            <ac:inkMk id="6" creationId="{8341B659-93AF-4CF0-BC28-598867549CBF}"/>
          </ac:inkMkLst>
        </pc:inkChg>
        <pc:inkChg chg="add del mod">
          <ac:chgData name="Jason Foerch" userId="5dc6dd6a-089a-42b7-a432-399fa3a88477" providerId="ADAL" clId="{5FDB8ED9-32F6-474B-8F9F-3173125BE82D}" dt="2020-03-27T19:40:23.678" v="5261"/>
          <ac:inkMkLst>
            <pc:docMk/>
            <pc:sldMk cId="1224155370" sldId="264"/>
            <ac:inkMk id="7" creationId="{ABA5F88F-A9C2-4FCE-83A2-B7A49AD129EC}"/>
          </ac:inkMkLst>
        </pc:inkChg>
        <pc:inkChg chg="add del mod">
          <ac:chgData name="Jason Foerch" userId="5dc6dd6a-089a-42b7-a432-399fa3a88477" providerId="ADAL" clId="{5FDB8ED9-32F6-474B-8F9F-3173125BE82D}" dt="2020-03-27T19:40:23.675" v="5256"/>
          <ac:inkMkLst>
            <pc:docMk/>
            <pc:sldMk cId="1224155370" sldId="264"/>
            <ac:inkMk id="8" creationId="{0CE37109-CD9C-4B27-8BEE-2672ADF5E26B}"/>
          </ac:inkMkLst>
        </pc:inkChg>
        <pc:inkChg chg="add del mod">
          <ac:chgData name="Jason Foerch" userId="5dc6dd6a-089a-42b7-a432-399fa3a88477" providerId="ADAL" clId="{5FDB8ED9-32F6-474B-8F9F-3173125BE82D}" dt="2020-03-27T19:40:23.678" v="5262"/>
          <ac:inkMkLst>
            <pc:docMk/>
            <pc:sldMk cId="1224155370" sldId="264"/>
            <ac:inkMk id="22" creationId="{CF55193B-87FA-426D-B953-76666EB522BE}"/>
          </ac:inkMkLst>
        </pc:inkChg>
        <pc:inkChg chg="add del mod">
          <ac:chgData name="Jason Foerch" userId="5dc6dd6a-089a-42b7-a432-399fa3a88477" providerId="ADAL" clId="{5FDB8ED9-32F6-474B-8F9F-3173125BE82D}" dt="2020-03-27T19:40:23.675" v="5257"/>
          <ac:inkMkLst>
            <pc:docMk/>
            <pc:sldMk cId="1224155370" sldId="264"/>
            <ac:inkMk id="23" creationId="{4F59905B-D5D9-4FE3-8C15-429600763CB4}"/>
          </ac:inkMkLst>
        </pc:inkChg>
        <pc:inkChg chg="add del mod">
          <ac:chgData name="Jason Foerch" userId="5dc6dd6a-089a-42b7-a432-399fa3a88477" providerId="ADAL" clId="{5FDB8ED9-32F6-474B-8F9F-3173125BE82D}" dt="2020-03-27T19:40:23.673" v="5253"/>
          <ac:inkMkLst>
            <pc:docMk/>
            <pc:sldMk cId="1224155370" sldId="264"/>
            <ac:inkMk id="24" creationId="{751B75C2-4A6E-4C5E-8F78-BED31765E19D}"/>
          </ac:inkMkLst>
        </pc:inkChg>
        <pc:inkChg chg="add del mod">
          <ac:chgData name="Jason Foerch" userId="5dc6dd6a-089a-42b7-a432-399fa3a88477" providerId="ADAL" clId="{5FDB8ED9-32F6-474B-8F9F-3173125BE82D}" dt="2020-03-27T19:40:23.665" v="5247"/>
          <ac:inkMkLst>
            <pc:docMk/>
            <pc:sldMk cId="1224155370" sldId="264"/>
            <ac:inkMk id="25" creationId="{3D30DA32-7282-4EAB-846E-6298D0886CAD}"/>
          </ac:inkMkLst>
        </pc:inkChg>
        <pc:inkChg chg="add del mod">
          <ac:chgData name="Jason Foerch" userId="5dc6dd6a-089a-42b7-a432-399fa3a88477" providerId="ADAL" clId="{5FDB8ED9-32F6-474B-8F9F-3173125BE82D}" dt="2020-03-27T19:40:23.676" v="5259"/>
          <ac:inkMkLst>
            <pc:docMk/>
            <pc:sldMk cId="1224155370" sldId="264"/>
            <ac:inkMk id="26" creationId="{D6535C35-154B-48AE-9FCD-B0A2568974C1}"/>
          </ac:inkMkLst>
        </pc:inkChg>
        <pc:inkChg chg="add del mod">
          <ac:chgData name="Jason Foerch" userId="5dc6dd6a-089a-42b7-a432-399fa3a88477" providerId="ADAL" clId="{5FDB8ED9-32F6-474B-8F9F-3173125BE82D}" dt="2020-03-27T19:40:23.674" v="5255"/>
          <ac:inkMkLst>
            <pc:docMk/>
            <pc:sldMk cId="1224155370" sldId="264"/>
            <ac:inkMk id="27" creationId="{FCADF868-2925-454F-BD67-E3B96A3F46EC}"/>
          </ac:inkMkLst>
        </pc:inkChg>
        <pc:inkChg chg="add del mod">
          <ac:chgData name="Jason Foerch" userId="5dc6dd6a-089a-42b7-a432-399fa3a88477" providerId="ADAL" clId="{5FDB8ED9-32F6-474B-8F9F-3173125BE82D}" dt="2020-03-27T19:40:23.671" v="5251"/>
          <ac:inkMkLst>
            <pc:docMk/>
            <pc:sldMk cId="1224155370" sldId="264"/>
            <ac:inkMk id="28" creationId="{FAB96D0E-9F25-4BA4-A5AF-54A22B84142F}"/>
          </ac:inkMkLst>
        </pc:inkChg>
        <pc:inkChg chg="add del mod">
          <ac:chgData name="Jason Foerch" userId="5dc6dd6a-089a-42b7-a432-399fa3a88477" providerId="ADAL" clId="{5FDB8ED9-32F6-474B-8F9F-3173125BE82D}" dt="2020-03-27T19:40:23.677" v="5260"/>
          <ac:inkMkLst>
            <pc:docMk/>
            <pc:sldMk cId="1224155370" sldId="264"/>
            <ac:inkMk id="29" creationId="{56700679-7496-4C98-900A-F6A1E1AB8384}"/>
          </ac:inkMkLst>
        </pc:inkChg>
        <pc:inkChg chg="add del mod">
          <ac:chgData name="Jason Foerch" userId="5dc6dd6a-089a-42b7-a432-399fa3a88477" providerId="ADAL" clId="{5FDB8ED9-32F6-474B-8F9F-3173125BE82D}" dt="2020-03-27T19:40:23.674" v="5254"/>
          <ac:inkMkLst>
            <pc:docMk/>
            <pc:sldMk cId="1224155370" sldId="264"/>
            <ac:inkMk id="30" creationId="{419C92AA-E9DC-4CE2-8E45-3BD47596543B}"/>
          </ac:inkMkLst>
        </pc:inkChg>
        <pc:inkChg chg="add del mod">
          <ac:chgData name="Jason Foerch" userId="5dc6dd6a-089a-42b7-a432-399fa3a88477" providerId="ADAL" clId="{5FDB8ED9-32F6-474B-8F9F-3173125BE82D}" dt="2020-03-27T19:40:23.667" v="5248"/>
          <ac:inkMkLst>
            <pc:docMk/>
            <pc:sldMk cId="1224155370" sldId="264"/>
            <ac:inkMk id="31" creationId="{0FA05E19-CF8A-4093-9A6F-E9576E5A2CAA}"/>
          </ac:inkMkLst>
        </pc:inkChg>
        <pc:inkChg chg="add del mod">
          <ac:chgData name="Jason Foerch" userId="5dc6dd6a-089a-42b7-a432-399fa3a88477" providerId="ADAL" clId="{5FDB8ED9-32F6-474B-8F9F-3173125BE82D}" dt="2020-03-27T19:41:19.156" v="5284"/>
          <ac:inkMkLst>
            <pc:docMk/>
            <pc:sldMk cId="1224155370" sldId="264"/>
            <ac:inkMk id="33" creationId="{3B99E24B-5D52-4D15-BAAD-AC63BA1FB8AF}"/>
          </ac:inkMkLst>
        </pc:inkChg>
        <pc:inkChg chg="add del mod">
          <ac:chgData name="Jason Foerch" userId="5dc6dd6a-089a-42b7-a432-399fa3a88477" providerId="ADAL" clId="{5FDB8ED9-32F6-474B-8F9F-3173125BE82D}" dt="2020-03-27T19:41:24.805" v="5288"/>
          <ac:inkMkLst>
            <pc:docMk/>
            <pc:sldMk cId="1224155370" sldId="264"/>
            <ac:inkMk id="34" creationId="{83DE43BB-09B6-4B4E-B284-6667E5914D81}"/>
          </ac:inkMkLst>
        </pc:inkChg>
        <pc:inkChg chg="add del mod">
          <ac:chgData name="Jason Foerch" userId="5dc6dd6a-089a-42b7-a432-399fa3a88477" providerId="ADAL" clId="{5FDB8ED9-32F6-474B-8F9F-3173125BE82D}" dt="2020-03-27T19:41:24.811" v="5294"/>
          <ac:inkMkLst>
            <pc:docMk/>
            <pc:sldMk cId="1224155370" sldId="264"/>
            <ac:inkMk id="35" creationId="{1BAC5F78-17FE-4704-A1E7-607849EFC6E0}"/>
          </ac:inkMkLst>
        </pc:inkChg>
        <pc:inkChg chg="add del mod">
          <ac:chgData name="Jason Foerch" userId="5dc6dd6a-089a-42b7-a432-399fa3a88477" providerId="ADAL" clId="{5FDB8ED9-32F6-474B-8F9F-3173125BE82D}" dt="2020-03-27T19:41:24.813" v="5296"/>
          <ac:inkMkLst>
            <pc:docMk/>
            <pc:sldMk cId="1224155370" sldId="264"/>
            <ac:inkMk id="36" creationId="{9C61ED9C-195C-4849-B597-C7298E925470}"/>
          </ac:inkMkLst>
        </pc:inkChg>
        <pc:inkChg chg="add del mod">
          <ac:chgData name="Jason Foerch" userId="5dc6dd6a-089a-42b7-a432-399fa3a88477" providerId="ADAL" clId="{5FDB8ED9-32F6-474B-8F9F-3173125BE82D}" dt="2020-03-27T19:41:24.806" v="5289"/>
          <ac:inkMkLst>
            <pc:docMk/>
            <pc:sldMk cId="1224155370" sldId="264"/>
            <ac:inkMk id="37" creationId="{1C0A6CDA-08F5-4BB2-8D85-041D5A142F86}"/>
          </ac:inkMkLst>
        </pc:inkChg>
        <pc:inkChg chg="add del mod">
          <ac:chgData name="Jason Foerch" userId="5dc6dd6a-089a-42b7-a432-399fa3a88477" providerId="ADAL" clId="{5FDB8ED9-32F6-474B-8F9F-3173125BE82D}" dt="2020-03-27T19:41:24.809" v="5292"/>
          <ac:inkMkLst>
            <pc:docMk/>
            <pc:sldMk cId="1224155370" sldId="264"/>
            <ac:inkMk id="38" creationId="{D1B1FA0E-213D-4CD4-88AB-7EC49278A1DC}"/>
          </ac:inkMkLst>
        </pc:inkChg>
        <pc:inkChg chg="add del mod">
          <ac:chgData name="Jason Foerch" userId="5dc6dd6a-089a-42b7-a432-399fa3a88477" providerId="ADAL" clId="{5FDB8ED9-32F6-474B-8F9F-3173125BE82D}" dt="2020-03-27T19:41:24.814" v="5297"/>
          <ac:inkMkLst>
            <pc:docMk/>
            <pc:sldMk cId="1224155370" sldId="264"/>
            <ac:inkMk id="39" creationId="{8236DF26-CD6E-49DA-8ACE-0360FC81C5A7}"/>
          </ac:inkMkLst>
        </pc:inkChg>
        <pc:inkChg chg="add del mod">
          <ac:chgData name="Jason Foerch" userId="5dc6dd6a-089a-42b7-a432-399fa3a88477" providerId="ADAL" clId="{5FDB8ED9-32F6-474B-8F9F-3173125BE82D}" dt="2020-03-27T19:41:24.802" v="5287"/>
          <ac:inkMkLst>
            <pc:docMk/>
            <pc:sldMk cId="1224155370" sldId="264"/>
            <ac:inkMk id="40" creationId="{BB7E5A1D-BFEB-4C32-8040-A19BFCE88B45}"/>
          </ac:inkMkLst>
        </pc:inkChg>
        <pc:inkChg chg="add del mod">
          <ac:chgData name="Jason Foerch" userId="5dc6dd6a-089a-42b7-a432-399fa3a88477" providerId="ADAL" clId="{5FDB8ED9-32F6-474B-8F9F-3173125BE82D}" dt="2020-03-27T19:41:24.812" v="5295"/>
          <ac:inkMkLst>
            <pc:docMk/>
            <pc:sldMk cId="1224155370" sldId="264"/>
            <ac:inkMk id="43" creationId="{31448CE9-F60C-4DA1-A7F9-6C40A3B04EEB}"/>
          </ac:inkMkLst>
        </pc:inkChg>
        <pc:inkChg chg="add del mod">
          <ac:chgData name="Jason Foerch" userId="5dc6dd6a-089a-42b7-a432-399fa3a88477" providerId="ADAL" clId="{5FDB8ED9-32F6-474B-8F9F-3173125BE82D}" dt="2020-03-27T19:41:24.810" v="5293"/>
          <ac:inkMkLst>
            <pc:docMk/>
            <pc:sldMk cId="1224155370" sldId="264"/>
            <ac:inkMk id="44" creationId="{D53A1948-347C-4F67-B4DE-8A2E0E19B743}"/>
          </ac:inkMkLst>
        </pc:inkChg>
        <pc:inkChg chg="add del mod">
          <ac:chgData name="Jason Foerch" userId="5dc6dd6a-089a-42b7-a432-399fa3a88477" providerId="ADAL" clId="{5FDB8ED9-32F6-474B-8F9F-3173125BE82D}" dt="2020-03-27T19:41:24.816" v="5299"/>
          <ac:inkMkLst>
            <pc:docMk/>
            <pc:sldMk cId="1224155370" sldId="264"/>
            <ac:inkMk id="45" creationId="{B6D675A9-8EB0-4FE1-BBD3-28677DA1B7AB}"/>
          </ac:inkMkLst>
        </pc:inkChg>
        <pc:inkChg chg="add del mod">
          <ac:chgData name="Jason Foerch" userId="5dc6dd6a-089a-42b7-a432-399fa3a88477" providerId="ADAL" clId="{5FDB8ED9-32F6-474B-8F9F-3173125BE82D}" dt="2020-03-27T19:41:24.807" v="5291"/>
          <ac:inkMkLst>
            <pc:docMk/>
            <pc:sldMk cId="1224155370" sldId="264"/>
            <ac:inkMk id="46" creationId="{6793A004-1B75-489C-A243-60763D04B241}"/>
          </ac:inkMkLst>
        </pc:inkChg>
        <pc:inkChg chg="add del mod">
          <ac:chgData name="Jason Foerch" userId="5dc6dd6a-089a-42b7-a432-399fa3a88477" providerId="ADAL" clId="{5FDB8ED9-32F6-474B-8F9F-3173125BE82D}" dt="2020-03-27T19:41:24.815" v="5298"/>
          <ac:inkMkLst>
            <pc:docMk/>
            <pc:sldMk cId="1224155370" sldId="264"/>
            <ac:inkMk id="47" creationId="{5ED4D2AD-5500-4237-9ED5-EDF34675EB87}"/>
          </ac:inkMkLst>
        </pc:inkChg>
        <pc:inkChg chg="add del mod">
          <ac:chgData name="Jason Foerch" userId="5dc6dd6a-089a-42b7-a432-399fa3a88477" providerId="ADAL" clId="{5FDB8ED9-32F6-474B-8F9F-3173125BE82D}" dt="2020-03-27T19:41:24.807" v="5290"/>
          <ac:inkMkLst>
            <pc:docMk/>
            <pc:sldMk cId="1224155370" sldId="264"/>
            <ac:inkMk id="48" creationId="{8B01CA98-BD91-4D50-9868-3818F4B55553}"/>
          </ac:inkMkLst>
        </pc:inkChg>
        <pc:inkChg chg="add del mod">
          <ac:chgData name="Jason Foerch" userId="5dc6dd6a-089a-42b7-a432-399fa3a88477" providerId="ADAL" clId="{5FDB8ED9-32F6-474B-8F9F-3173125BE82D}" dt="2020-03-27T19:41:24.817" v="5300"/>
          <ac:inkMkLst>
            <pc:docMk/>
            <pc:sldMk cId="1224155370" sldId="264"/>
            <ac:inkMk id="49" creationId="{0EEC49EA-1C0A-4307-A614-8E6BBA0EF2F8}"/>
          </ac:inkMkLst>
        </pc:inkChg>
        <pc:inkChg chg="add del mod">
          <ac:chgData name="Jason Foerch" userId="5dc6dd6a-089a-42b7-a432-399fa3a88477" providerId="ADAL" clId="{5FDB8ED9-32F6-474B-8F9F-3173125BE82D}" dt="2020-03-27T19:40:28.296" v="5263"/>
          <ac:inkMkLst>
            <pc:docMk/>
            <pc:sldMk cId="1224155370" sldId="264"/>
            <ac:inkMk id="51" creationId="{33E8B33A-CB9C-46EE-B8EE-739A498FA660}"/>
          </ac:inkMkLst>
        </pc:inkChg>
        <pc:inkChg chg="add del mod">
          <ac:chgData name="Jason Foerch" userId="5dc6dd6a-089a-42b7-a432-399fa3a88477" providerId="ADAL" clId="{5FDB8ED9-32F6-474B-8F9F-3173125BE82D}" dt="2020-03-27T19:40:23.676" v="5258"/>
          <ac:inkMkLst>
            <pc:docMk/>
            <pc:sldMk cId="1224155370" sldId="264"/>
            <ac:inkMk id="52" creationId="{E20DC585-CF01-44D7-BB1B-C0B7395DA016}"/>
          </ac:inkMkLst>
        </pc:inkChg>
        <pc:inkChg chg="add del mod">
          <ac:chgData name="Jason Foerch" userId="5dc6dd6a-089a-42b7-a432-399fa3a88477" providerId="ADAL" clId="{5FDB8ED9-32F6-474B-8F9F-3173125BE82D}" dt="2020-03-27T19:41:19.149" v="5277"/>
          <ac:inkMkLst>
            <pc:docMk/>
            <pc:sldMk cId="1224155370" sldId="264"/>
            <ac:inkMk id="54" creationId="{3E7DCA29-37ED-4469-A58E-F1C838E4DC6E}"/>
          </ac:inkMkLst>
        </pc:inkChg>
        <pc:inkChg chg="add del mod">
          <ac:chgData name="Jason Foerch" userId="5dc6dd6a-089a-42b7-a432-399fa3a88477" providerId="ADAL" clId="{5FDB8ED9-32F6-474B-8F9F-3173125BE82D}" dt="2020-03-27T19:41:19.152" v="5280"/>
          <ac:inkMkLst>
            <pc:docMk/>
            <pc:sldMk cId="1224155370" sldId="264"/>
            <ac:inkMk id="55" creationId="{4AFC824C-9DA4-4EB2-A1DF-66B152A885E7}"/>
          </ac:inkMkLst>
        </pc:inkChg>
        <pc:inkChg chg="add del mod">
          <ac:chgData name="Jason Foerch" userId="5dc6dd6a-089a-42b7-a432-399fa3a88477" providerId="ADAL" clId="{5FDB8ED9-32F6-474B-8F9F-3173125BE82D}" dt="2020-03-27T19:41:20.129" v="5286"/>
          <ac:inkMkLst>
            <pc:docMk/>
            <pc:sldMk cId="1224155370" sldId="264"/>
            <ac:inkMk id="57" creationId="{EB2B1613-85E1-4425-B779-E75979292C33}"/>
          </ac:inkMkLst>
        </pc:inkChg>
        <pc:inkChg chg="add del mod">
          <ac:chgData name="Jason Foerch" userId="5dc6dd6a-089a-42b7-a432-399fa3a88477" providerId="ADAL" clId="{5FDB8ED9-32F6-474B-8F9F-3173125BE82D}" dt="2020-03-27T19:41:20.126" v="5285"/>
          <ac:inkMkLst>
            <pc:docMk/>
            <pc:sldMk cId="1224155370" sldId="264"/>
            <ac:inkMk id="58" creationId="{96FDCAB2-3BF2-4D0F-B38F-C47422A0EBC7}"/>
          </ac:inkMkLst>
        </pc:inkChg>
        <pc:inkChg chg="add del mod">
          <ac:chgData name="Jason Foerch" userId="5dc6dd6a-089a-42b7-a432-399fa3a88477" providerId="ADAL" clId="{5FDB8ED9-32F6-474B-8F9F-3173125BE82D}" dt="2020-03-27T19:41:19.151" v="5279"/>
          <ac:inkMkLst>
            <pc:docMk/>
            <pc:sldMk cId="1224155370" sldId="264"/>
            <ac:inkMk id="60" creationId="{42D370F8-1B21-4F3E-8B5B-B33B96354137}"/>
          </ac:inkMkLst>
        </pc:inkChg>
        <pc:inkChg chg="add del mod">
          <ac:chgData name="Jason Foerch" userId="5dc6dd6a-089a-42b7-a432-399fa3a88477" providerId="ADAL" clId="{5FDB8ED9-32F6-474B-8F9F-3173125BE82D}" dt="2020-03-27T19:41:19.154" v="5282"/>
          <ac:inkMkLst>
            <pc:docMk/>
            <pc:sldMk cId="1224155370" sldId="264"/>
            <ac:inkMk id="61" creationId="{FD5C0E2E-C59A-4CD2-816C-F609C54E1B57}"/>
          </ac:inkMkLst>
        </pc:inkChg>
        <pc:inkChg chg="add del mod">
          <ac:chgData name="Jason Foerch" userId="5dc6dd6a-089a-42b7-a432-399fa3a88477" providerId="ADAL" clId="{5FDB8ED9-32F6-474B-8F9F-3173125BE82D}" dt="2020-03-27T19:41:19.153" v="5281"/>
          <ac:inkMkLst>
            <pc:docMk/>
            <pc:sldMk cId="1224155370" sldId="264"/>
            <ac:inkMk id="62" creationId="{104CBD1F-CAE4-437E-A66B-D3D6F809AEFC}"/>
          </ac:inkMkLst>
        </pc:inkChg>
        <pc:inkChg chg="add del mod">
          <ac:chgData name="Jason Foerch" userId="5dc6dd6a-089a-42b7-a432-399fa3a88477" providerId="ADAL" clId="{5FDB8ED9-32F6-474B-8F9F-3173125BE82D}" dt="2020-03-27T19:41:19.150" v="5278"/>
          <ac:inkMkLst>
            <pc:docMk/>
            <pc:sldMk cId="1224155370" sldId="264"/>
            <ac:inkMk id="64" creationId="{DC1B6484-E14C-42A9-B1FF-B77F11D45AF6}"/>
          </ac:inkMkLst>
        </pc:inkChg>
        <pc:inkChg chg="add del mod">
          <ac:chgData name="Jason Foerch" userId="5dc6dd6a-089a-42b7-a432-399fa3a88477" providerId="ADAL" clId="{5FDB8ED9-32F6-474B-8F9F-3173125BE82D}" dt="2020-03-27T19:41:19.155" v="5283"/>
          <ac:inkMkLst>
            <pc:docMk/>
            <pc:sldMk cId="1224155370" sldId="264"/>
            <ac:inkMk id="65" creationId="{3306A22E-E0D4-4EE5-80C7-941B0F26C04F}"/>
          </ac:inkMkLst>
        </pc:inkChg>
        <pc:inkChg chg="add del mod">
          <ac:chgData name="Jason Foerch" userId="5dc6dd6a-089a-42b7-a432-399fa3a88477" providerId="ADAL" clId="{5FDB8ED9-32F6-474B-8F9F-3173125BE82D}" dt="2020-03-27T19:42:06.921" v="5311"/>
          <ac:inkMkLst>
            <pc:docMk/>
            <pc:sldMk cId="1224155370" sldId="264"/>
            <ac:inkMk id="67" creationId="{F695CCF1-E5F5-4B64-AE94-22EC7C221857}"/>
          </ac:inkMkLst>
        </pc:inkChg>
        <pc:inkChg chg="add del mod">
          <ac:chgData name="Jason Foerch" userId="5dc6dd6a-089a-42b7-a432-399fa3a88477" providerId="ADAL" clId="{5FDB8ED9-32F6-474B-8F9F-3173125BE82D}" dt="2020-03-27T19:42:06.922" v="5312"/>
          <ac:inkMkLst>
            <pc:docMk/>
            <pc:sldMk cId="1224155370" sldId="264"/>
            <ac:inkMk id="68" creationId="{C86F6BE5-6390-477E-8321-EEFA8AD80189}"/>
          </ac:inkMkLst>
        </pc:inkChg>
        <pc:inkChg chg="add del">
          <ac:chgData name="Jason Foerch" userId="5dc6dd6a-089a-42b7-a432-399fa3a88477" providerId="ADAL" clId="{5FDB8ED9-32F6-474B-8F9F-3173125BE82D}" dt="2020-03-27T19:42:06.923" v="5314"/>
          <ac:inkMkLst>
            <pc:docMk/>
            <pc:sldMk cId="1224155370" sldId="264"/>
            <ac:inkMk id="70" creationId="{1ADD6FFB-988F-45BC-B782-3387E6F6A55A}"/>
          </ac:inkMkLst>
        </pc:inkChg>
        <pc:inkChg chg="add del mod">
          <ac:chgData name="Jason Foerch" userId="5dc6dd6a-089a-42b7-a432-399fa3a88477" providerId="ADAL" clId="{5FDB8ED9-32F6-474B-8F9F-3173125BE82D}" dt="2020-03-27T19:42:06.919" v="5309"/>
          <ac:inkMkLst>
            <pc:docMk/>
            <pc:sldMk cId="1224155370" sldId="264"/>
            <ac:inkMk id="71" creationId="{487A6AA3-C7BA-4614-8C8F-A6700E5A5592}"/>
          </ac:inkMkLst>
        </pc:inkChg>
        <pc:inkChg chg="add del mod">
          <ac:chgData name="Jason Foerch" userId="5dc6dd6a-089a-42b7-a432-399fa3a88477" providerId="ADAL" clId="{5FDB8ED9-32F6-474B-8F9F-3173125BE82D}" dt="2020-03-27T19:42:06.923" v="5313"/>
          <ac:inkMkLst>
            <pc:docMk/>
            <pc:sldMk cId="1224155370" sldId="264"/>
            <ac:inkMk id="72" creationId="{565E23C1-9F23-4351-8B5E-38712A2F8EE3}"/>
          </ac:inkMkLst>
        </pc:inkChg>
        <pc:inkChg chg="add del mod">
          <ac:chgData name="Jason Foerch" userId="5dc6dd6a-089a-42b7-a432-399fa3a88477" providerId="ADAL" clId="{5FDB8ED9-32F6-474B-8F9F-3173125BE82D}" dt="2020-03-27T19:42:06.920" v="5310"/>
          <ac:inkMkLst>
            <pc:docMk/>
            <pc:sldMk cId="1224155370" sldId="264"/>
            <ac:inkMk id="73" creationId="{B7C287DF-CEA1-490C-AAE2-3DFE1096D5B3}"/>
          </ac:inkMkLst>
        </pc:inkChg>
        <pc:inkChg chg="add del">
          <ac:chgData name="Jason Foerch" userId="5dc6dd6a-089a-42b7-a432-399fa3a88477" providerId="ADAL" clId="{5FDB8ED9-32F6-474B-8F9F-3173125BE82D}" dt="2020-03-27T20:17:03.304" v="5397"/>
          <ac:inkMkLst>
            <pc:docMk/>
            <pc:sldMk cId="1224155370" sldId="264"/>
            <ac:inkMk id="75" creationId="{2E879E1A-8560-4AD5-B74C-F526EA251D76}"/>
          </ac:inkMkLst>
        </pc:inkChg>
        <pc:inkChg chg="add del mod">
          <ac:chgData name="Jason Foerch" userId="5dc6dd6a-089a-42b7-a432-399fa3a88477" providerId="ADAL" clId="{5FDB8ED9-32F6-474B-8F9F-3173125BE82D}" dt="2020-03-27T19:43:47.454" v="5330"/>
          <ac:inkMkLst>
            <pc:docMk/>
            <pc:sldMk cId="1224155370" sldId="264"/>
            <ac:inkMk id="76" creationId="{8A440798-661F-4F45-80AA-B017E51B18F8}"/>
          </ac:inkMkLst>
        </pc:inkChg>
        <pc:inkChg chg="add del mod">
          <ac:chgData name="Jason Foerch" userId="5dc6dd6a-089a-42b7-a432-399fa3a88477" providerId="ADAL" clId="{5FDB8ED9-32F6-474B-8F9F-3173125BE82D}" dt="2020-03-27T19:43:49.301" v="5337"/>
          <ac:inkMkLst>
            <pc:docMk/>
            <pc:sldMk cId="1224155370" sldId="264"/>
            <ac:inkMk id="77" creationId="{327FE8EC-1B30-4250-A9AF-6C522A03295C}"/>
          </ac:inkMkLst>
        </pc:inkChg>
        <pc:inkChg chg="add del mod">
          <ac:chgData name="Jason Foerch" userId="5dc6dd6a-089a-42b7-a432-399fa3a88477" providerId="ADAL" clId="{5FDB8ED9-32F6-474B-8F9F-3173125BE82D}" dt="2020-03-27T19:43:49.300" v="5336"/>
          <ac:inkMkLst>
            <pc:docMk/>
            <pc:sldMk cId="1224155370" sldId="264"/>
            <ac:inkMk id="78" creationId="{0FF1129C-6ECF-49D3-899A-94D8CE38E74B}"/>
          </ac:inkMkLst>
        </pc:inkChg>
        <pc:inkChg chg="add del mod">
          <ac:chgData name="Jason Foerch" userId="5dc6dd6a-089a-42b7-a432-399fa3a88477" providerId="ADAL" clId="{5FDB8ED9-32F6-474B-8F9F-3173125BE82D}" dt="2020-03-27T19:43:49.298" v="5333"/>
          <ac:inkMkLst>
            <pc:docMk/>
            <pc:sldMk cId="1224155370" sldId="264"/>
            <ac:inkMk id="79" creationId="{06C89D68-EB57-4C6D-A692-E1073CACDE08}"/>
          </ac:inkMkLst>
        </pc:inkChg>
        <pc:inkChg chg="add del mod">
          <ac:chgData name="Jason Foerch" userId="5dc6dd6a-089a-42b7-a432-399fa3a88477" providerId="ADAL" clId="{5FDB8ED9-32F6-474B-8F9F-3173125BE82D}" dt="2020-03-27T19:43:49.300" v="5335"/>
          <ac:inkMkLst>
            <pc:docMk/>
            <pc:sldMk cId="1224155370" sldId="264"/>
            <ac:inkMk id="80" creationId="{B13158BC-2EDE-40CB-9A5C-AF2A7268CE50}"/>
          </ac:inkMkLst>
        </pc:inkChg>
        <pc:inkChg chg="add del mod">
          <ac:chgData name="Jason Foerch" userId="5dc6dd6a-089a-42b7-a432-399fa3a88477" providerId="ADAL" clId="{5FDB8ED9-32F6-474B-8F9F-3173125BE82D}" dt="2020-03-27T19:43:49.299" v="5334"/>
          <ac:inkMkLst>
            <pc:docMk/>
            <pc:sldMk cId="1224155370" sldId="264"/>
            <ac:inkMk id="82" creationId="{4C964E33-4BF9-44A0-8160-69822F9A87E5}"/>
          </ac:inkMkLst>
        </pc:inkChg>
        <pc:inkChg chg="add mod">
          <ac:chgData name="Jason Foerch" userId="5dc6dd6a-089a-42b7-a432-399fa3a88477" providerId="ADAL" clId="{5FDB8ED9-32F6-474B-8F9F-3173125BE82D}" dt="2020-03-27T19:43:49.301" v="5337"/>
          <ac:inkMkLst>
            <pc:docMk/>
            <pc:sldMk cId="1224155370" sldId="264"/>
            <ac:inkMk id="83" creationId="{D95B7D53-5C04-4EBC-B402-BADAFED6A271}"/>
          </ac:inkMkLst>
        </pc:inkChg>
        <pc:inkChg chg="add del mod">
          <ac:chgData name="Jason Foerch" userId="5dc6dd6a-089a-42b7-a432-399fa3a88477" providerId="ADAL" clId="{5FDB8ED9-32F6-474B-8F9F-3173125BE82D}" dt="2020-03-27T19:43:47.455" v="5331"/>
          <ac:inkMkLst>
            <pc:docMk/>
            <pc:sldMk cId="1224155370" sldId="264"/>
            <ac:inkMk id="85" creationId="{2627BAB5-5603-4C71-AD45-277DFED097FB}"/>
          </ac:inkMkLst>
        </pc:inkChg>
        <pc:inkChg chg="add del mod">
          <ac:chgData name="Jason Foerch" userId="5dc6dd6a-089a-42b7-a432-399fa3a88477" providerId="ADAL" clId="{5FDB8ED9-32F6-474B-8F9F-3173125BE82D}" dt="2020-03-27T19:43:47.453" v="5329"/>
          <ac:inkMkLst>
            <pc:docMk/>
            <pc:sldMk cId="1224155370" sldId="264"/>
            <ac:inkMk id="86" creationId="{A3B7E4FD-3110-4D61-B2D3-0D8054E4A13F}"/>
          </ac:inkMkLst>
        </pc:inkChg>
        <pc:inkChg chg="add del mod">
          <ac:chgData name="Jason Foerch" userId="5dc6dd6a-089a-42b7-a432-399fa3a88477" providerId="ADAL" clId="{5FDB8ED9-32F6-474B-8F9F-3173125BE82D}" dt="2020-03-27T19:43:47.456" v="5332"/>
          <ac:inkMkLst>
            <pc:docMk/>
            <pc:sldMk cId="1224155370" sldId="264"/>
            <ac:inkMk id="87" creationId="{30D2ADE4-E934-498E-827A-B4C17ADBC113}"/>
          </ac:inkMkLst>
        </pc:inkChg>
        <pc:inkChg chg="add del">
          <ac:chgData name="Jason Foerch" userId="5dc6dd6a-089a-42b7-a432-399fa3a88477" providerId="ADAL" clId="{5FDB8ED9-32F6-474B-8F9F-3173125BE82D}" dt="2020-03-27T20:15:16.977" v="5339"/>
          <ac:inkMkLst>
            <pc:docMk/>
            <pc:sldMk cId="1224155370" sldId="264"/>
            <ac:inkMk id="89" creationId="{7FAEBFD6-2D10-4AF2-9532-4790D6101D01}"/>
          </ac:inkMkLst>
        </pc:inkChg>
        <pc:inkChg chg="add del">
          <ac:chgData name="Jason Foerch" userId="5dc6dd6a-089a-42b7-a432-399fa3a88477" providerId="ADAL" clId="{5FDB8ED9-32F6-474B-8F9F-3173125BE82D}" dt="2020-03-27T20:17:03.296" v="5392"/>
          <ac:inkMkLst>
            <pc:docMk/>
            <pc:sldMk cId="1224155370" sldId="264"/>
            <ac:inkMk id="90" creationId="{9AEAC964-F20D-4158-837A-4E6EAC6BD6D7}"/>
          </ac:inkMkLst>
        </pc:inkChg>
        <pc:inkChg chg="add del mod">
          <ac:chgData name="Jason Foerch" userId="5dc6dd6a-089a-42b7-a432-399fa3a88477" providerId="ADAL" clId="{5FDB8ED9-32F6-474B-8F9F-3173125BE82D}" dt="2020-03-27T20:16:56.937" v="5384"/>
          <ac:inkMkLst>
            <pc:docMk/>
            <pc:sldMk cId="1224155370" sldId="264"/>
            <ac:inkMk id="91" creationId="{6E0D70C8-DE1F-4075-8F4A-A09E266A2B76}"/>
          </ac:inkMkLst>
        </pc:inkChg>
        <pc:inkChg chg="add del mod">
          <ac:chgData name="Jason Foerch" userId="5dc6dd6a-089a-42b7-a432-399fa3a88477" providerId="ADAL" clId="{5FDB8ED9-32F6-474B-8F9F-3173125BE82D}" dt="2020-03-27T20:16:56.931" v="5380"/>
          <ac:inkMkLst>
            <pc:docMk/>
            <pc:sldMk cId="1224155370" sldId="264"/>
            <ac:inkMk id="92" creationId="{6C9A9882-4EED-42DC-BA4E-6E6FC251F147}"/>
          </ac:inkMkLst>
        </pc:inkChg>
        <pc:inkChg chg="add del mod">
          <ac:chgData name="Jason Foerch" userId="5dc6dd6a-089a-42b7-a432-399fa3a88477" providerId="ADAL" clId="{5FDB8ED9-32F6-474B-8F9F-3173125BE82D}" dt="2020-03-27T20:16:56.935" v="5382"/>
          <ac:inkMkLst>
            <pc:docMk/>
            <pc:sldMk cId="1224155370" sldId="264"/>
            <ac:inkMk id="94" creationId="{170DE48E-F2DE-4F59-AB40-3DCDFD7FAAB5}"/>
          </ac:inkMkLst>
        </pc:inkChg>
        <pc:inkChg chg="add del mod">
          <ac:chgData name="Jason Foerch" userId="5dc6dd6a-089a-42b7-a432-399fa3a88477" providerId="ADAL" clId="{5FDB8ED9-32F6-474B-8F9F-3173125BE82D}" dt="2020-03-27T20:16:56.936" v="5383"/>
          <ac:inkMkLst>
            <pc:docMk/>
            <pc:sldMk cId="1224155370" sldId="264"/>
            <ac:inkMk id="95" creationId="{4E740CB7-7711-41FE-A671-3450AF336C1B}"/>
          </ac:inkMkLst>
        </pc:inkChg>
        <pc:inkChg chg="add del mod">
          <ac:chgData name="Jason Foerch" userId="5dc6dd6a-089a-42b7-a432-399fa3a88477" providerId="ADAL" clId="{5FDB8ED9-32F6-474B-8F9F-3173125BE82D}" dt="2020-03-27T20:16:56.933" v="5381"/>
          <ac:inkMkLst>
            <pc:docMk/>
            <pc:sldMk cId="1224155370" sldId="264"/>
            <ac:inkMk id="96" creationId="{A40441E6-029F-4FEC-B683-30D67568E3E8}"/>
          </ac:inkMkLst>
        </pc:inkChg>
        <pc:inkChg chg="add del mod">
          <ac:chgData name="Jason Foerch" userId="5dc6dd6a-089a-42b7-a432-399fa3a88477" providerId="ADAL" clId="{5FDB8ED9-32F6-474B-8F9F-3173125BE82D}" dt="2020-03-27T20:17:03.301" v="5395"/>
          <ac:inkMkLst>
            <pc:docMk/>
            <pc:sldMk cId="1224155370" sldId="264"/>
            <ac:inkMk id="98" creationId="{B16F45D7-727F-45FF-A037-B4B1F89D13CB}"/>
          </ac:inkMkLst>
        </pc:inkChg>
        <pc:inkChg chg="add del mod">
          <ac:chgData name="Jason Foerch" userId="5dc6dd6a-089a-42b7-a432-399fa3a88477" providerId="ADAL" clId="{5FDB8ED9-32F6-474B-8F9F-3173125BE82D}" dt="2020-03-27T20:17:03.297" v="5393"/>
          <ac:inkMkLst>
            <pc:docMk/>
            <pc:sldMk cId="1224155370" sldId="264"/>
            <ac:inkMk id="99" creationId="{40DF3BCA-D7D7-4EBF-8D41-356AF794A589}"/>
          </ac:inkMkLst>
        </pc:inkChg>
        <pc:inkChg chg="add del mod">
          <ac:chgData name="Jason Foerch" userId="5dc6dd6a-089a-42b7-a432-399fa3a88477" providerId="ADAL" clId="{5FDB8ED9-32F6-474B-8F9F-3173125BE82D}" dt="2020-03-27T20:16:10.519" v="5356"/>
          <ac:inkMkLst>
            <pc:docMk/>
            <pc:sldMk cId="1224155370" sldId="264"/>
            <ac:inkMk id="101" creationId="{BC77879E-23CA-4583-B2BF-972107D4F84C}"/>
          </ac:inkMkLst>
        </pc:inkChg>
        <pc:inkChg chg="add del mod">
          <ac:chgData name="Jason Foerch" userId="5dc6dd6a-089a-42b7-a432-399fa3a88477" providerId="ADAL" clId="{5FDB8ED9-32F6-474B-8F9F-3173125BE82D}" dt="2020-03-27T20:16:10.524" v="5359"/>
          <ac:inkMkLst>
            <pc:docMk/>
            <pc:sldMk cId="1224155370" sldId="264"/>
            <ac:inkMk id="102" creationId="{6449FFDF-DAB4-4CFD-AC3F-28CD384BA9AC}"/>
          </ac:inkMkLst>
        </pc:inkChg>
        <pc:inkChg chg="add del mod">
          <ac:chgData name="Jason Foerch" userId="5dc6dd6a-089a-42b7-a432-399fa3a88477" providerId="ADAL" clId="{5FDB8ED9-32F6-474B-8F9F-3173125BE82D}" dt="2020-03-27T20:16:10.523" v="5358"/>
          <ac:inkMkLst>
            <pc:docMk/>
            <pc:sldMk cId="1224155370" sldId="264"/>
            <ac:inkMk id="103" creationId="{54E8CB48-5E2E-4EB8-B0AB-C18DD76EBCB7}"/>
          </ac:inkMkLst>
        </pc:inkChg>
        <pc:inkChg chg="add del mod">
          <ac:chgData name="Jason Foerch" userId="5dc6dd6a-089a-42b7-a432-399fa3a88477" providerId="ADAL" clId="{5FDB8ED9-32F6-474B-8F9F-3173125BE82D}" dt="2020-03-27T20:16:10.521" v="5357"/>
          <ac:inkMkLst>
            <pc:docMk/>
            <pc:sldMk cId="1224155370" sldId="264"/>
            <ac:inkMk id="104" creationId="{09788ADB-0683-4A81-A52B-5BD8575FD790}"/>
          </ac:inkMkLst>
        </pc:inkChg>
        <pc:inkChg chg="add del mod">
          <ac:chgData name="Jason Foerch" userId="5dc6dd6a-089a-42b7-a432-399fa3a88477" providerId="ADAL" clId="{5FDB8ED9-32F6-474B-8F9F-3173125BE82D}" dt="2020-03-27T20:17:03.308" v="5401"/>
          <ac:inkMkLst>
            <pc:docMk/>
            <pc:sldMk cId="1224155370" sldId="264"/>
            <ac:inkMk id="106" creationId="{D2605CA4-43B7-4304-A171-6E96F149E20E}"/>
          </ac:inkMkLst>
        </pc:inkChg>
        <pc:inkChg chg="add del mod">
          <ac:chgData name="Jason Foerch" userId="5dc6dd6a-089a-42b7-a432-399fa3a88477" providerId="ADAL" clId="{5FDB8ED9-32F6-474B-8F9F-3173125BE82D}" dt="2020-03-27T20:17:03.309" v="5403"/>
          <ac:inkMkLst>
            <pc:docMk/>
            <pc:sldMk cId="1224155370" sldId="264"/>
            <ac:inkMk id="107" creationId="{76142D83-FD41-456F-8676-E71233908D90}"/>
          </ac:inkMkLst>
        </pc:inkChg>
        <pc:inkChg chg="add del mod">
          <ac:chgData name="Jason Foerch" userId="5dc6dd6a-089a-42b7-a432-399fa3a88477" providerId="ADAL" clId="{5FDB8ED9-32F6-474B-8F9F-3173125BE82D}" dt="2020-03-27T20:17:03.292" v="5388"/>
          <ac:inkMkLst>
            <pc:docMk/>
            <pc:sldMk cId="1224155370" sldId="264"/>
            <ac:inkMk id="108" creationId="{B13365DD-43AB-452B-A3F1-E685DA596E01}"/>
          </ac:inkMkLst>
        </pc:inkChg>
        <pc:inkChg chg="add del mod">
          <ac:chgData name="Jason Foerch" userId="5dc6dd6a-089a-42b7-a432-399fa3a88477" providerId="ADAL" clId="{5FDB8ED9-32F6-474B-8F9F-3173125BE82D}" dt="2020-03-27T20:17:03.294" v="5390"/>
          <ac:inkMkLst>
            <pc:docMk/>
            <pc:sldMk cId="1224155370" sldId="264"/>
            <ac:inkMk id="109" creationId="{39486E06-59A1-4944-83EB-DAAF58932802}"/>
          </ac:inkMkLst>
        </pc:inkChg>
        <pc:inkChg chg="add del mod">
          <ac:chgData name="Jason Foerch" userId="5dc6dd6a-089a-42b7-a432-399fa3a88477" providerId="ADAL" clId="{5FDB8ED9-32F6-474B-8F9F-3173125BE82D}" dt="2020-03-27T20:17:03.287" v="5385"/>
          <ac:inkMkLst>
            <pc:docMk/>
            <pc:sldMk cId="1224155370" sldId="264"/>
            <ac:inkMk id="112" creationId="{BAB4E6ED-F711-45DB-9F2E-0BAAB2DB1C98}"/>
          </ac:inkMkLst>
        </pc:inkChg>
        <pc:inkChg chg="add del mod">
          <ac:chgData name="Jason Foerch" userId="5dc6dd6a-089a-42b7-a432-399fa3a88477" providerId="ADAL" clId="{5FDB8ED9-32F6-474B-8F9F-3173125BE82D}" dt="2020-03-27T20:17:03.295" v="5391"/>
          <ac:inkMkLst>
            <pc:docMk/>
            <pc:sldMk cId="1224155370" sldId="264"/>
            <ac:inkMk id="113" creationId="{C5A41539-A8D5-498A-B15E-C2858E581749}"/>
          </ac:inkMkLst>
        </pc:inkChg>
        <pc:inkChg chg="add del mod">
          <ac:chgData name="Jason Foerch" userId="5dc6dd6a-089a-42b7-a432-399fa3a88477" providerId="ADAL" clId="{5FDB8ED9-32F6-474B-8F9F-3173125BE82D}" dt="2020-03-27T20:17:03.306" v="5399"/>
          <ac:inkMkLst>
            <pc:docMk/>
            <pc:sldMk cId="1224155370" sldId="264"/>
            <ac:inkMk id="115" creationId="{210639CB-84D2-4518-86D3-0A0B59375686}"/>
          </ac:inkMkLst>
        </pc:inkChg>
        <pc:inkChg chg="add del mod">
          <ac:chgData name="Jason Foerch" userId="5dc6dd6a-089a-42b7-a432-399fa3a88477" providerId="ADAL" clId="{5FDB8ED9-32F6-474B-8F9F-3173125BE82D}" dt="2020-03-27T20:17:03.305" v="5398"/>
          <ac:inkMkLst>
            <pc:docMk/>
            <pc:sldMk cId="1224155370" sldId="264"/>
            <ac:inkMk id="116" creationId="{EF871D0D-983A-4CF0-9BA2-30C88042D72D}"/>
          </ac:inkMkLst>
        </pc:inkChg>
        <pc:inkChg chg="add del mod">
          <ac:chgData name="Jason Foerch" userId="5dc6dd6a-089a-42b7-a432-399fa3a88477" providerId="ADAL" clId="{5FDB8ED9-32F6-474B-8F9F-3173125BE82D}" dt="2020-03-27T20:17:03.290" v="5387"/>
          <ac:inkMkLst>
            <pc:docMk/>
            <pc:sldMk cId="1224155370" sldId="264"/>
            <ac:inkMk id="117" creationId="{39CAC7A7-9842-45DE-801B-D77E1B71D639}"/>
          </ac:inkMkLst>
        </pc:inkChg>
        <pc:inkChg chg="add del mod">
          <ac:chgData name="Jason Foerch" userId="5dc6dd6a-089a-42b7-a432-399fa3a88477" providerId="ADAL" clId="{5FDB8ED9-32F6-474B-8F9F-3173125BE82D}" dt="2020-03-27T20:17:03.309" v="5402"/>
          <ac:inkMkLst>
            <pc:docMk/>
            <pc:sldMk cId="1224155370" sldId="264"/>
            <ac:inkMk id="119" creationId="{6EA501BE-B1EE-400B-94AF-D67204F07F43}"/>
          </ac:inkMkLst>
        </pc:inkChg>
        <pc:inkChg chg="add del mod">
          <ac:chgData name="Jason Foerch" userId="5dc6dd6a-089a-42b7-a432-399fa3a88477" providerId="ADAL" clId="{5FDB8ED9-32F6-474B-8F9F-3173125BE82D}" dt="2020-03-27T20:17:03.303" v="5396"/>
          <ac:inkMkLst>
            <pc:docMk/>
            <pc:sldMk cId="1224155370" sldId="264"/>
            <ac:inkMk id="120" creationId="{20250D9E-8638-4645-8944-6E471B89C28A}"/>
          </ac:inkMkLst>
        </pc:inkChg>
        <pc:inkChg chg="add del mod">
          <ac:chgData name="Jason Foerch" userId="5dc6dd6a-089a-42b7-a432-399fa3a88477" providerId="ADAL" clId="{5FDB8ED9-32F6-474B-8F9F-3173125BE82D}" dt="2020-03-27T20:17:03.307" v="5400"/>
          <ac:inkMkLst>
            <pc:docMk/>
            <pc:sldMk cId="1224155370" sldId="264"/>
            <ac:inkMk id="121" creationId="{87F1DDAB-C4C6-497F-8967-8EB2E0853F2A}"/>
          </ac:inkMkLst>
        </pc:inkChg>
        <pc:inkChg chg="add del mod">
          <ac:chgData name="Jason Foerch" userId="5dc6dd6a-089a-42b7-a432-399fa3a88477" providerId="ADAL" clId="{5FDB8ED9-32F6-474B-8F9F-3173125BE82D}" dt="2020-03-27T20:17:03.289" v="5386"/>
          <ac:inkMkLst>
            <pc:docMk/>
            <pc:sldMk cId="1224155370" sldId="264"/>
            <ac:inkMk id="122" creationId="{EBA7C09F-4327-4C3A-B948-D90D13110130}"/>
          </ac:inkMkLst>
        </pc:inkChg>
        <pc:inkChg chg="add del mod">
          <ac:chgData name="Jason Foerch" userId="5dc6dd6a-089a-42b7-a432-399fa3a88477" providerId="ADAL" clId="{5FDB8ED9-32F6-474B-8F9F-3173125BE82D}" dt="2020-03-27T20:17:03.299" v="5394"/>
          <ac:inkMkLst>
            <pc:docMk/>
            <pc:sldMk cId="1224155370" sldId="264"/>
            <ac:inkMk id="123" creationId="{2350D4BF-6C26-4E54-862B-6DA6D3BEBEEF}"/>
          </ac:inkMkLst>
        </pc:inkChg>
        <pc:inkChg chg="add del mod">
          <ac:chgData name="Jason Foerch" userId="5dc6dd6a-089a-42b7-a432-399fa3a88477" providerId="ADAL" clId="{5FDB8ED9-32F6-474B-8F9F-3173125BE82D}" dt="2020-03-27T20:17:03.293" v="5389"/>
          <ac:inkMkLst>
            <pc:docMk/>
            <pc:sldMk cId="1224155370" sldId="264"/>
            <ac:inkMk id="124" creationId="{3DF7E29C-E1AF-4DD0-B8F2-AAA1EE8E82DE}"/>
          </ac:inkMkLst>
        </pc:inkChg>
        <pc:inkChg chg="add del">
          <ac:chgData name="Jason Foerch" userId="5dc6dd6a-089a-42b7-a432-399fa3a88477" providerId="ADAL" clId="{5FDB8ED9-32F6-474B-8F9F-3173125BE82D}" dt="2020-03-27T20:17:05.398" v="5404"/>
          <ac:inkMkLst>
            <pc:docMk/>
            <pc:sldMk cId="1224155370" sldId="264"/>
            <ac:inkMk id="126" creationId="{5CEEFB28-310A-4BAD-AA3D-FF316AB49520}"/>
          </ac:inkMkLst>
        </pc:inkChg>
      </pc:sldChg>
      <pc:sldChg chg="addSp delSp modSp add mod ord">
        <pc:chgData name="Jason Foerch" userId="5dc6dd6a-089a-42b7-a432-399fa3a88477" providerId="ADAL" clId="{5FDB8ED9-32F6-474B-8F9F-3173125BE82D}" dt="2020-05-05T17:22:52.544" v="6330" actId="20577"/>
        <pc:sldMkLst>
          <pc:docMk/>
          <pc:sldMk cId="801181363" sldId="265"/>
        </pc:sldMkLst>
        <pc:spChg chg="mod">
          <ac:chgData name="Jason Foerch" userId="5dc6dd6a-089a-42b7-a432-399fa3a88477" providerId="ADAL" clId="{5FDB8ED9-32F6-474B-8F9F-3173125BE82D}" dt="2020-05-05T17:22:52.544" v="6330" actId="20577"/>
          <ac:spMkLst>
            <pc:docMk/>
            <pc:sldMk cId="801181363" sldId="265"/>
            <ac:spMk id="4" creationId="{C07C45B8-4983-4FFB-BD8B-B2F43686E476}"/>
          </ac:spMkLst>
        </pc:spChg>
        <pc:spChg chg="add del">
          <ac:chgData name="Jason Foerch" userId="5dc6dd6a-089a-42b7-a432-399fa3a88477" providerId="ADAL" clId="{5FDB8ED9-32F6-474B-8F9F-3173125BE82D}" dt="2020-05-04T20:09:34.935" v="5778" actId="478"/>
          <ac:spMkLst>
            <pc:docMk/>
            <pc:sldMk cId="801181363" sldId="265"/>
            <ac:spMk id="15" creationId="{832B9AE8-3865-4F96-A693-ECD34E9B3E31}"/>
          </ac:spMkLst>
        </pc:spChg>
        <pc:spChg chg="add del">
          <ac:chgData name="Jason Foerch" userId="5dc6dd6a-089a-42b7-a432-399fa3a88477" providerId="ADAL" clId="{5FDB8ED9-32F6-474B-8F9F-3173125BE82D}" dt="2020-05-04T20:09:34.935" v="5778" actId="478"/>
          <ac:spMkLst>
            <pc:docMk/>
            <pc:sldMk cId="801181363" sldId="265"/>
            <ac:spMk id="16" creationId="{ECAF47D0-80DD-48A1-91CF-8E8BCB6807C6}"/>
          </ac:spMkLst>
        </pc:spChg>
        <pc:grpChg chg="add del">
          <ac:chgData name="Jason Foerch" userId="5dc6dd6a-089a-42b7-a432-399fa3a88477" providerId="ADAL" clId="{5FDB8ED9-32F6-474B-8F9F-3173125BE82D}" dt="2020-05-04T20:09:34.935" v="5778" actId="478"/>
          <ac:grpSpMkLst>
            <pc:docMk/>
            <pc:sldMk cId="801181363" sldId="265"/>
            <ac:grpSpMk id="7" creationId="{55D87354-BC01-4681-8FBD-AC92762433D0}"/>
          </ac:grpSpMkLst>
        </pc:grpChg>
        <pc:graphicFrameChg chg="mod modGraphic">
          <ac:chgData name="Jason Foerch" userId="5dc6dd6a-089a-42b7-a432-399fa3a88477" providerId="ADAL" clId="{5FDB8ED9-32F6-474B-8F9F-3173125BE82D}" dt="2020-05-04T20:21:56.353" v="5913" actId="2164"/>
          <ac:graphicFrameMkLst>
            <pc:docMk/>
            <pc:sldMk cId="801181363" sldId="265"/>
            <ac:graphicFrameMk id="35" creationId="{8ED9BE5A-E89B-43D7-B6FE-223D219DC8AD}"/>
          </ac:graphicFrameMkLst>
        </pc:graphicFrameChg>
        <pc:picChg chg="del">
          <ac:chgData name="Jason Foerch" userId="5dc6dd6a-089a-42b7-a432-399fa3a88477" providerId="ADAL" clId="{5FDB8ED9-32F6-474B-8F9F-3173125BE82D}" dt="2020-03-17T12:24:35.795" v="3116" actId="478"/>
          <ac:picMkLst>
            <pc:docMk/>
            <pc:sldMk cId="801181363" sldId="265"/>
            <ac:picMk id="2" creationId="{B6FA63E0-C0AD-457D-AEA4-638CC4A89EBF}"/>
          </ac:picMkLst>
        </pc:picChg>
        <pc:picChg chg="add del ord">
          <ac:chgData name="Jason Foerch" userId="5dc6dd6a-089a-42b7-a432-399fa3a88477" providerId="ADAL" clId="{5FDB8ED9-32F6-474B-8F9F-3173125BE82D}" dt="2020-05-04T20:09:30.915" v="5776" actId="478"/>
          <ac:picMkLst>
            <pc:docMk/>
            <pc:sldMk cId="801181363" sldId="265"/>
            <ac:picMk id="6" creationId="{D412217B-7007-4C40-8FC8-BF3925874204}"/>
          </ac:picMkLst>
        </pc:picChg>
        <pc:picChg chg="add">
          <ac:chgData name="Jason Foerch" userId="5dc6dd6a-089a-42b7-a432-399fa3a88477" providerId="ADAL" clId="{5FDB8ED9-32F6-474B-8F9F-3173125BE82D}" dt="2020-05-04T20:09:39.305" v="5779"/>
          <ac:picMkLst>
            <pc:docMk/>
            <pc:sldMk cId="801181363" sldId="265"/>
            <ac:picMk id="17" creationId="{4139DE0B-ACF4-4E5A-894F-B5C7C337388D}"/>
          </ac:picMkLst>
        </pc:picChg>
      </pc:sldChg>
      <pc:sldChg chg="addSp delSp modSp add mod">
        <pc:chgData name="Jason Foerch" userId="5dc6dd6a-089a-42b7-a432-399fa3a88477" providerId="ADAL" clId="{5FDB8ED9-32F6-474B-8F9F-3173125BE82D}" dt="2020-05-05T17:22:19.755" v="6300" actId="20577"/>
        <pc:sldMkLst>
          <pc:docMk/>
          <pc:sldMk cId="1984782908" sldId="266"/>
        </pc:sldMkLst>
        <pc:spChg chg="mod">
          <ac:chgData name="Jason Foerch" userId="5dc6dd6a-089a-42b7-a432-399fa3a88477" providerId="ADAL" clId="{5FDB8ED9-32F6-474B-8F9F-3173125BE82D}" dt="2020-05-05T17:22:19.755" v="6300" actId="20577"/>
          <ac:spMkLst>
            <pc:docMk/>
            <pc:sldMk cId="1984782908" sldId="266"/>
            <ac:spMk id="4" creationId="{C07C45B8-4983-4FFB-BD8B-B2F43686E476}"/>
          </ac:spMkLst>
        </pc:spChg>
        <pc:spChg chg="add del mod">
          <ac:chgData name="Jason Foerch" userId="5dc6dd6a-089a-42b7-a432-399fa3a88477" providerId="ADAL" clId="{5FDB8ED9-32F6-474B-8F9F-3173125BE82D}" dt="2020-05-04T20:10:25.263" v="5789"/>
          <ac:spMkLst>
            <pc:docMk/>
            <pc:sldMk cId="1984782908" sldId="266"/>
            <ac:spMk id="16" creationId="{CB409F08-78A7-4100-9FB6-9D10E529C95F}"/>
          </ac:spMkLst>
        </pc:spChg>
        <pc:spChg chg="add del mod">
          <ac:chgData name="Jason Foerch" userId="5dc6dd6a-089a-42b7-a432-399fa3a88477" providerId="ADAL" clId="{5FDB8ED9-32F6-474B-8F9F-3173125BE82D}" dt="2020-05-04T20:10:25.263" v="5789"/>
          <ac:spMkLst>
            <pc:docMk/>
            <pc:sldMk cId="1984782908" sldId="266"/>
            <ac:spMk id="17" creationId="{B03601FE-2080-4523-B96F-ED27491C55F0}"/>
          </ac:spMkLst>
        </pc:spChg>
        <pc:grpChg chg="add del">
          <ac:chgData name="Jason Foerch" userId="5dc6dd6a-089a-42b7-a432-399fa3a88477" providerId="ADAL" clId="{5FDB8ED9-32F6-474B-8F9F-3173125BE82D}" dt="2020-03-17T12:21:18.416" v="3072"/>
          <ac:grpSpMkLst>
            <pc:docMk/>
            <pc:sldMk cId="1984782908" sldId="266"/>
            <ac:grpSpMk id="6" creationId="{276C4638-0949-4612-A1DE-97A81B58CF19}"/>
          </ac:grpSpMkLst>
        </pc:grpChg>
        <pc:grpChg chg="add del mod">
          <ac:chgData name="Jason Foerch" userId="5dc6dd6a-089a-42b7-a432-399fa3a88477" providerId="ADAL" clId="{5FDB8ED9-32F6-474B-8F9F-3173125BE82D}" dt="2020-05-04T20:10:25.263" v="5789"/>
          <ac:grpSpMkLst>
            <pc:docMk/>
            <pc:sldMk cId="1984782908" sldId="266"/>
            <ac:grpSpMk id="8" creationId="{D0571607-E402-498D-BF85-05B1355B4EE6}"/>
          </ac:grpSpMkLst>
        </pc:grpChg>
        <pc:grpChg chg="add del mod">
          <ac:chgData name="Jason Foerch" userId="5dc6dd6a-089a-42b7-a432-399fa3a88477" providerId="ADAL" clId="{5FDB8ED9-32F6-474B-8F9F-3173125BE82D}" dt="2020-03-17T12:22:46.498" v="3083"/>
          <ac:grpSpMkLst>
            <pc:docMk/>
            <pc:sldMk cId="1984782908" sldId="266"/>
            <ac:grpSpMk id="16" creationId="{F9282852-32FF-4E53-BC8A-8B345A1A39E3}"/>
          </ac:grpSpMkLst>
        </pc:grpChg>
        <pc:grpChg chg="add del">
          <ac:chgData name="Jason Foerch" userId="5dc6dd6a-089a-42b7-a432-399fa3a88477" providerId="ADAL" clId="{5FDB8ED9-32F6-474B-8F9F-3173125BE82D}" dt="2020-03-17T12:22:51.162" v="3087"/>
          <ac:grpSpMkLst>
            <pc:docMk/>
            <pc:sldMk cId="1984782908" sldId="266"/>
            <ac:grpSpMk id="25" creationId="{D0D9FC6C-F479-4712-BB60-31997AAE292C}"/>
          </ac:grpSpMkLst>
        </pc:grpChg>
        <pc:graphicFrameChg chg="add mod modGraphic">
          <ac:chgData name="Jason Foerch" userId="5dc6dd6a-089a-42b7-a432-399fa3a88477" providerId="ADAL" clId="{5FDB8ED9-32F6-474B-8F9F-3173125BE82D}" dt="2020-05-04T20:31:20.288" v="6048" actId="1035"/>
          <ac:graphicFrameMkLst>
            <pc:docMk/>
            <pc:sldMk cId="1984782908" sldId="266"/>
            <ac:graphicFrameMk id="7" creationId="{E1DAF2A5-EDFF-415A-BDEB-C482B9AC4525}"/>
          </ac:graphicFrameMkLst>
        </pc:graphicFrameChg>
        <pc:graphicFrameChg chg="del">
          <ac:chgData name="Jason Foerch" userId="5dc6dd6a-089a-42b7-a432-399fa3a88477" providerId="ADAL" clId="{5FDB8ED9-32F6-474B-8F9F-3173125BE82D}" dt="2020-03-16T20:36:24.611" v="1883" actId="478"/>
          <ac:graphicFrameMkLst>
            <pc:docMk/>
            <pc:sldMk cId="1984782908" sldId="266"/>
            <ac:graphicFrameMk id="35" creationId="{8ED9BE5A-E89B-43D7-B6FE-223D219DC8AD}"/>
          </ac:graphicFrameMkLst>
        </pc:graphicFrameChg>
        <pc:picChg chg="del">
          <ac:chgData name="Jason Foerch" userId="5dc6dd6a-089a-42b7-a432-399fa3a88477" providerId="ADAL" clId="{5FDB8ED9-32F6-474B-8F9F-3173125BE82D}" dt="2020-03-16T20:35:47.914" v="1853" actId="478"/>
          <ac:picMkLst>
            <pc:docMk/>
            <pc:sldMk cId="1984782908" sldId="266"/>
            <ac:picMk id="2" creationId="{B6FA63E0-C0AD-457D-AEA4-638CC4A89EBF}"/>
          </ac:picMkLst>
        </pc:picChg>
        <pc:picChg chg="add mod">
          <ac:chgData name="Jason Foerch" userId="5dc6dd6a-089a-42b7-a432-399fa3a88477" providerId="ADAL" clId="{5FDB8ED9-32F6-474B-8F9F-3173125BE82D}" dt="2020-05-04T20:10:46.843" v="5826" actId="1035"/>
          <ac:picMkLst>
            <pc:docMk/>
            <pc:sldMk cId="1984782908" sldId="266"/>
            <ac:picMk id="2" creationId="{DBF991CF-DF8C-42F9-A9D5-B784CFAE5361}"/>
          </ac:picMkLst>
        </pc:picChg>
        <pc:picChg chg="add del mod ord">
          <ac:chgData name="Jason Foerch" userId="5dc6dd6a-089a-42b7-a432-399fa3a88477" providerId="ADAL" clId="{5FDB8ED9-32F6-474B-8F9F-3173125BE82D}" dt="2020-03-17T12:23:05.626" v="3092" actId="478"/>
          <ac:picMkLst>
            <pc:docMk/>
            <pc:sldMk cId="1984782908" sldId="266"/>
            <ac:picMk id="2" creationId="{EB2807D6-EA07-4CD1-9F41-446273E8D755}"/>
          </ac:picMkLst>
        </pc:picChg>
        <pc:picChg chg="add del mod">
          <ac:chgData name="Jason Foerch" userId="5dc6dd6a-089a-42b7-a432-399fa3a88477" providerId="ADAL" clId="{5FDB8ED9-32F6-474B-8F9F-3173125BE82D}" dt="2020-03-17T12:21:29.436" v="3077" actId="478"/>
          <ac:picMkLst>
            <pc:docMk/>
            <pc:sldMk cId="1984782908" sldId="266"/>
            <ac:picMk id="3" creationId="{85922F70-7B90-4476-8DA3-93071E8468B5}"/>
          </ac:picMkLst>
        </pc:picChg>
        <pc:picChg chg="add del mod ord">
          <ac:chgData name="Jason Foerch" userId="5dc6dd6a-089a-42b7-a432-399fa3a88477" providerId="ADAL" clId="{5FDB8ED9-32F6-474B-8F9F-3173125BE82D}" dt="2020-05-04T20:09:51.893" v="5780" actId="478"/>
          <ac:picMkLst>
            <pc:docMk/>
            <pc:sldMk cId="1984782908" sldId="266"/>
            <ac:picMk id="5" creationId="{7E990E7E-B7E2-4CBD-9D09-EA60906C41D0}"/>
          </ac:picMkLst>
        </pc:picChg>
        <pc:picChg chg="add del">
          <ac:chgData name="Jason Foerch" userId="5dc6dd6a-089a-42b7-a432-399fa3a88477" providerId="ADAL" clId="{5FDB8ED9-32F6-474B-8F9F-3173125BE82D}" dt="2020-05-04T20:10:49.651" v="5827" actId="478"/>
          <ac:picMkLst>
            <pc:docMk/>
            <pc:sldMk cId="1984782908" sldId="266"/>
            <ac:picMk id="6" creationId="{C08F1B54-9E76-4985-9E1F-2BD0F6817F35}"/>
          </ac:picMkLst>
        </pc:picChg>
      </pc:sldChg>
      <pc:sldChg chg="addSp delSp modSp add mod ord">
        <pc:chgData name="Jason Foerch" userId="5dc6dd6a-089a-42b7-a432-399fa3a88477" providerId="ADAL" clId="{5FDB8ED9-32F6-474B-8F9F-3173125BE82D}" dt="2020-05-05T17:22:28.843" v="6310" actId="20577"/>
        <pc:sldMkLst>
          <pc:docMk/>
          <pc:sldMk cId="3360089249" sldId="267"/>
        </pc:sldMkLst>
        <pc:spChg chg="mod">
          <ac:chgData name="Jason Foerch" userId="5dc6dd6a-089a-42b7-a432-399fa3a88477" providerId="ADAL" clId="{5FDB8ED9-32F6-474B-8F9F-3173125BE82D}" dt="2020-05-05T17:22:28.843" v="6310" actId="20577"/>
          <ac:spMkLst>
            <pc:docMk/>
            <pc:sldMk cId="3360089249" sldId="267"/>
            <ac:spMk id="4" creationId="{C07C45B8-4983-4FFB-BD8B-B2F43686E476}"/>
          </ac:spMkLst>
        </pc:spChg>
        <pc:grpChg chg="add del">
          <ac:chgData name="Jason Foerch" userId="5dc6dd6a-089a-42b7-a432-399fa3a88477" providerId="ADAL" clId="{5FDB8ED9-32F6-474B-8F9F-3173125BE82D}" dt="2020-03-17T12:25:39.641" v="3122"/>
          <ac:grpSpMkLst>
            <pc:docMk/>
            <pc:sldMk cId="3360089249" sldId="267"/>
            <ac:grpSpMk id="6" creationId="{1BAA23B6-24B6-4E06-8994-6569602E87E1}"/>
          </ac:grpSpMkLst>
        </pc:grpChg>
        <pc:grpChg chg="add del mod">
          <ac:chgData name="Jason Foerch" userId="5dc6dd6a-089a-42b7-a432-399fa3a88477" providerId="ADAL" clId="{5FDB8ED9-32F6-474B-8F9F-3173125BE82D}" dt="2020-03-16T20:42:37.536" v="2166"/>
          <ac:grpSpMkLst>
            <pc:docMk/>
            <pc:sldMk cId="3360089249" sldId="267"/>
            <ac:grpSpMk id="7" creationId="{EEDCE082-5078-4D7B-AEBC-9F48FAE76BDD}"/>
          </ac:grpSpMkLst>
        </pc:grpChg>
        <pc:grpChg chg="add del">
          <ac:chgData name="Jason Foerch" userId="5dc6dd6a-089a-42b7-a432-399fa3a88477" providerId="ADAL" clId="{5FDB8ED9-32F6-474B-8F9F-3173125BE82D}" dt="2020-03-16T20:42:41.460" v="2168"/>
          <ac:grpSpMkLst>
            <pc:docMk/>
            <pc:sldMk cId="3360089249" sldId="267"/>
            <ac:grpSpMk id="16" creationId="{8CA9E3E4-44F6-4241-BAED-C2B141AFF045}"/>
          </ac:grpSpMkLst>
        </pc:grpChg>
        <pc:graphicFrameChg chg="mod modGraphic">
          <ac:chgData name="Jason Foerch" userId="5dc6dd6a-089a-42b7-a432-399fa3a88477" providerId="ADAL" clId="{5FDB8ED9-32F6-474B-8F9F-3173125BE82D}" dt="2020-05-04T20:29:58.854" v="6013" actId="2165"/>
          <ac:graphicFrameMkLst>
            <pc:docMk/>
            <pc:sldMk cId="3360089249" sldId="267"/>
            <ac:graphicFrameMk id="35" creationId="{8ED9BE5A-E89B-43D7-B6FE-223D219DC8AD}"/>
          </ac:graphicFrameMkLst>
        </pc:graphicFrameChg>
        <pc:picChg chg="add del mod ord">
          <ac:chgData name="Jason Foerch" userId="5dc6dd6a-089a-42b7-a432-399fa3a88477" providerId="ADAL" clId="{5FDB8ED9-32F6-474B-8F9F-3173125BE82D}" dt="2020-05-04T20:12:22.886" v="5840" actId="478"/>
          <ac:picMkLst>
            <pc:docMk/>
            <pc:sldMk cId="3360089249" sldId="267"/>
            <ac:picMk id="2" creationId="{23F4D287-3256-450E-AA6E-0CFA425631AD}"/>
          </ac:picMkLst>
        </pc:picChg>
        <pc:picChg chg="add del">
          <ac:chgData name="Jason Foerch" userId="5dc6dd6a-089a-42b7-a432-399fa3a88477" providerId="ADAL" clId="{5FDB8ED9-32F6-474B-8F9F-3173125BE82D}" dt="2020-03-16T20:43:02.125" v="2222" actId="478"/>
          <ac:picMkLst>
            <pc:docMk/>
            <pc:sldMk cId="3360089249" sldId="267"/>
            <ac:picMk id="2" creationId="{B6FA63E0-C0AD-457D-AEA4-638CC4A89EBF}"/>
          </ac:picMkLst>
        </pc:picChg>
        <pc:picChg chg="add del mod">
          <ac:chgData name="Jason Foerch" userId="5dc6dd6a-089a-42b7-a432-399fa3a88477" providerId="ADAL" clId="{5FDB8ED9-32F6-474B-8F9F-3173125BE82D}" dt="2020-05-04T20:12:43.654" v="5844" actId="21"/>
          <ac:picMkLst>
            <pc:docMk/>
            <pc:sldMk cId="3360089249" sldId="267"/>
            <ac:picMk id="3" creationId="{7CC9235B-525D-498C-8F3B-EE2FD0D70858}"/>
          </ac:picMkLst>
        </pc:picChg>
        <pc:picChg chg="add del">
          <ac:chgData name="Jason Foerch" userId="5dc6dd6a-089a-42b7-a432-399fa3a88477" providerId="ADAL" clId="{5FDB8ED9-32F6-474B-8F9F-3173125BE82D}" dt="2020-03-16T20:42:13.611" v="2159"/>
          <ac:picMkLst>
            <pc:docMk/>
            <pc:sldMk cId="3360089249" sldId="267"/>
            <ac:picMk id="3" creationId="{925E69CE-B7BA-4C9C-BE4A-F628484611AD}"/>
          </ac:picMkLst>
        </pc:picChg>
        <pc:picChg chg="add del mod">
          <ac:chgData name="Jason Foerch" userId="5dc6dd6a-089a-42b7-a432-399fa3a88477" providerId="ADAL" clId="{5FDB8ED9-32F6-474B-8F9F-3173125BE82D}" dt="2020-03-17T12:25:51.309" v="3127" actId="478"/>
          <ac:picMkLst>
            <pc:docMk/>
            <pc:sldMk cId="3360089249" sldId="267"/>
            <ac:picMk id="5" creationId="{58954ABD-9A37-47AF-9A78-350CBD7EBE99}"/>
          </ac:picMkLst>
        </pc:picChg>
        <pc:picChg chg="add del">
          <ac:chgData name="Jason Foerch" userId="5dc6dd6a-089a-42b7-a432-399fa3a88477" providerId="ADAL" clId="{5FDB8ED9-32F6-474B-8F9F-3173125BE82D}" dt="2020-05-04T20:12:57.646" v="5880" actId="478"/>
          <ac:picMkLst>
            <pc:docMk/>
            <pc:sldMk cId="3360089249" sldId="267"/>
            <ac:picMk id="7" creationId="{7C63F960-1596-4FF7-A394-3F30DC2C4017}"/>
          </ac:picMkLst>
        </pc:picChg>
        <pc:picChg chg="add mod">
          <ac:chgData name="Jason Foerch" userId="5dc6dd6a-089a-42b7-a432-399fa3a88477" providerId="ADAL" clId="{5FDB8ED9-32F6-474B-8F9F-3173125BE82D}" dt="2020-05-04T20:12:55.372" v="5879" actId="1035"/>
          <ac:picMkLst>
            <pc:docMk/>
            <pc:sldMk cId="3360089249" sldId="267"/>
            <ac:picMk id="8" creationId="{408A8514-6081-4651-8848-AC49FE9B45FB}"/>
          </ac:picMkLst>
        </pc:picChg>
      </pc:sldChg>
      <pc:sldChg chg="addSp delSp modSp add mod">
        <pc:chgData name="Jason Foerch" userId="5dc6dd6a-089a-42b7-a432-399fa3a88477" providerId="ADAL" clId="{5FDB8ED9-32F6-474B-8F9F-3173125BE82D}" dt="2020-05-05T17:22:32.585" v="6315" actId="20577"/>
        <pc:sldMkLst>
          <pc:docMk/>
          <pc:sldMk cId="3929588503" sldId="268"/>
        </pc:sldMkLst>
        <pc:spChg chg="mod">
          <ac:chgData name="Jason Foerch" userId="5dc6dd6a-089a-42b7-a432-399fa3a88477" providerId="ADAL" clId="{5FDB8ED9-32F6-474B-8F9F-3173125BE82D}" dt="2020-05-05T17:22:32.585" v="6315" actId="20577"/>
          <ac:spMkLst>
            <pc:docMk/>
            <pc:sldMk cId="3929588503" sldId="268"/>
            <ac:spMk id="4" creationId="{C07C45B8-4983-4FFB-BD8B-B2F43686E476}"/>
          </ac:spMkLst>
        </pc:spChg>
        <pc:graphicFrameChg chg="mod modGraphic">
          <ac:chgData name="Jason Foerch" userId="5dc6dd6a-089a-42b7-a432-399fa3a88477" providerId="ADAL" clId="{5FDB8ED9-32F6-474B-8F9F-3173125BE82D}" dt="2020-05-04T20:28:45.323" v="6002" actId="255"/>
          <ac:graphicFrameMkLst>
            <pc:docMk/>
            <pc:sldMk cId="3929588503" sldId="268"/>
            <ac:graphicFrameMk id="35" creationId="{8ED9BE5A-E89B-43D7-B6FE-223D219DC8AD}"/>
          </ac:graphicFrameMkLst>
        </pc:graphicFrameChg>
        <pc:picChg chg="del">
          <ac:chgData name="Jason Foerch" userId="5dc6dd6a-089a-42b7-a432-399fa3a88477" providerId="ADAL" clId="{5FDB8ED9-32F6-474B-8F9F-3173125BE82D}" dt="2020-03-17T12:26:12.399" v="3131" actId="478"/>
          <ac:picMkLst>
            <pc:docMk/>
            <pc:sldMk cId="3929588503" sldId="268"/>
            <ac:picMk id="5" creationId="{58954ABD-9A37-47AF-9A78-350CBD7EBE99}"/>
          </ac:picMkLst>
        </pc:picChg>
        <pc:picChg chg="add del mod ord">
          <ac:chgData name="Jason Foerch" userId="5dc6dd6a-089a-42b7-a432-399fa3a88477" providerId="ADAL" clId="{5FDB8ED9-32F6-474B-8F9F-3173125BE82D}" dt="2020-05-04T20:13:10.747" v="5881" actId="478"/>
          <ac:picMkLst>
            <pc:docMk/>
            <pc:sldMk cId="3929588503" sldId="268"/>
            <ac:picMk id="6" creationId="{DB237013-6551-4CE7-A70B-F3F20B348A19}"/>
          </ac:picMkLst>
        </pc:picChg>
        <pc:picChg chg="add">
          <ac:chgData name="Jason Foerch" userId="5dc6dd6a-089a-42b7-a432-399fa3a88477" providerId="ADAL" clId="{5FDB8ED9-32F6-474B-8F9F-3173125BE82D}" dt="2020-05-04T20:13:11.967" v="5882"/>
          <ac:picMkLst>
            <pc:docMk/>
            <pc:sldMk cId="3929588503" sldId="268"/>
            <ac:picMk id="7" creationId="{D5124B04-94E7-4265-9E03-528393BC910F}"/>
          </ac:picMkLst>
        </pc:picChg>
      </pc:sldChg>
      <pc:sldChg chg="modSp add del">
        <pc:chgData name="Jason Foerch" userId="5dc6dd6a-089a-42b7-a432-399fa3a88477" providerId="ADAL" clId="{5FDB8ED9-32F6-474B-8F9F-3173125BE82D}" dt="2020-03-16T20:52:18.506" v="2685" actId="47"/>
        <pc:sldMkLst>
          <pc:docMk/>
          <pc:sldMk cId="651804263" sldId="269"/>
        </pc:sldMkLst>
        <pc:spChg chg="mod">
          <ac:chgData name="Jason Foerch" userId="5dc6dd6a-089a-42b7-a432-399fa3a88477" providerId="ADAL" clId="{5FDB8ED9-32F6-474B-8F9F-3173125BE82D}" dt="2020-03-16T20:52:13.781" v="2684" actId="20577"/>
          <ac:spMkLst>
            <pc:docMk/>
            <pc:sldMk cId="651804263" sldId="269"/>
            <ac:spMk id="4" creationId="{C07C45B8-4983-4FFB-BD8B-B2F43686E476}"/>
          </ac:spMkLst>
        </pc:spChg>
      </pc:sldChg>
      <pc:sldChg chg="addSp delSp modSp add mod ord">
        <pc:chgData name="Jason Foerch" userId="5dc6dd6a-089a-42b7-a432-399fa3a88477" providerId="ADAL" clId="{5FDB8ED9-32F6-474B-8F9F-3173125BE82D}" dt="2020-05-05T17:22:36.765" v="6320" actId="20577"/>
        <pc:sldMkLst>
          <pc:docMk/>
          <pc:sldMk cId="1955426766" sldId="269"/>
        </pc:sldMkLst>
        <pc:spChg chg="mod">
          <ac:chgData name="Jason Foerch" userId="5dc6dd6a-089a-42b7-a432-399fa3a88477" providerId="ADAL" clId="{5FDB8ED9-32F6-474B-8F9F-3173125BE82D}" dt="2020-05-05T17:22:36.765" v="6320" actId="20577"/>
          <ac:spMkLst>
            <pc:docMk/>
            <pc:sldMk cId="1955426766" sldId="269"/>
            <ac:spMk id="4" creationId="{C07C45B8-4983-4FFB-BD8B-B2F43686E476}"/>
          </ac:spMkLst>
        </pc:spChg>
        <pc:grpChg chg="add del">
          <ac:chgData name="Jason Foerch" userId="5dc6dd6a-089a-42b7-a432-399fa3a88477" providerId="ADAL" clId="{5FDB8ED9-32F6-474B-8F9F-3173125BE82D}" dt="2020-03-16T20:52:46.428" v="2697"/>
          <ac:grpSpMkLst>
            <pc:docMk/>
            <pc:sldMk cId="1955426766" sldId="269"/>
            <ac:grpSpMk id="6" creationId="{0EC04DC1-ECC7-4B98-AF69-C1A30146DF7B}"/>
          </ac:grpSpMkLst>
        </pc:grpChg>
        <pc:grpChg chg="add del">
          <ac:chgData name="Jason Foerch" userId="5dc6dd6a-089a-42b7-a432-399fa3a88477" providerId="ADAL" clId="{5FDB8ED9-32F6-474B-8F9F-3173125BE82D}" dt="2020-03-17T12:27:20.323" v="3159"/>
          <ac:grpSpMkLst>
            <pc:docMk/>
            <pc:sldMk cId="1955426766" sldId="269"/>
            <ac:grpSpMk id="6" creationId="{9EFD3406-C61E-4B3B-BF4A-15A27FD0D664}"/>
          </ac:grpSpMkLst>
        </pc:grpChg>
        <pc:graphicFrameChg chg="mod modGraphic">
          <ac:chgData name="Jason Foerch" userId="5dc6dd6a-089a-42b7-a432-399fa3a88477" providerId="ADAL" clId="{5FDB8ED9-32F6-474B-8F9F-3173125BE82D}" dt="2020-03-19T14:13:53.628" v="4353" actId="255"/>
          <ac:graphicFrameMkLst>
            <pc:docMk/>
            <pc:sldMk cId="1955426766" sldId="269"/>
            <ac:graphicFrameMk id="35" creationId="{8ED9BE5A-E89B-43D7-B6FE-223D219DC8AD}"/>
          </ac:graphicFrameMkLst>
        </pc:graphicFrameChg>
        <pc:picChg chg="add del mod">
          <ac:chgData name="Jason Foerch" userId="5dc6dd6a-089a-42b7-a432-399fa3a88477" providerId="ADAL" clId="{5FDB8ED9-32F6-474B-8F9F-3173125BE82D}" dt="2020-03-17T12:27:33.539" v="3164" actId="478"/>
          <ac:picMkLst>
            <pc:docMk/>
            <pc:sldMk cId="1955426766" sldId="269"/>
            <ac:picMk id="2" creationId="{0F5C845B-D685-4C95-8F3C-03080CDF7F2F}"/>
          </ac:picMkLst>
        </pc:picChg>
        <pc:picChg chg="add mod">
          <ac:chgData name="Jason Foerch" userId="5dc6dd6a-089a-42b7-a432-399fa3a88477" providerId="ADAL" clId="{5FDB8ED9-32F6-474B-8F9F-3173125BE82D}" dt="2020-05-04T20:15:25.063" v="5910" actId="1036"/>
          <ac:picMkLst>
            <pc:docMk/>
            <pc:sldMk cId="1955426766" sldId="269"/>
            <ac:picMk id="2" creationId="{156BFA9F-8A0F-48E2-9519-B1ADE358E15F}"/>
          </ac:picMkLst>
        </pc:picChg>
        <pc:picChg chg="add del mod ord">
          <ac:chgData name="Jason Foerch" userId="5dc6dd6a-089a-42b7-a432-399fa3a88477" providerId="ADAL" clId="{5FDB8ED9-32F6-474B-8F9F-3173125BE82D}" dt="2020-05-04T20:15:19.607" v="5907" actId="478"/>
          <ac:picMkLst>
            <pc:docMk/>
            <pc:sldMk cId="1955426766" sldId="269"/>
            <ac:picMk id="3" creationId="{436D3232-F04C-4E72-9434-2A50AA5F31CD}"/>
          </ac:picMkLst>
        </pc:picChg>
        <pc:picChg chg="del">
          <ac:chgData name="Jason Foerch" userId="5dc6dd6a-089a-42b7-a432-399fa3a88477" providerId="ADAL" clId="{5FDB8ED9-32F6-474B-8F9F-3173125BE82D}" dt="2020-03-16T20:53:08.536" v="2730" actId="478"/>
          <ac:picMkLst>
            <pc:docMk/>
            <pc:sldMk cId="1955426766" sldId="269"/>
            <ac:picMk id="5" creationId="{58954ABD-9A37-47AF-9A78-350CBD7EBE99}"/>
          </ac:picMkLst>
        </pc:picChg>
      </pc:sldChg>
      <pc:sldChg chg="addSp delSp modSp add mod">
        <pc:chgData name="Jason Foerch" userId="5dc6dd6a-089a-42b7-a432-399fa3a88477" providerId="ADAL" clId="{5FDB8ED9-32F6-474B-8F9F-3173125BE82D}" dt="2020-05-05T17:22:24.816" v="6305" actId="20577"/>
        <pc:sldMkLst>
          <pc:docMk/>
          <pc:sldMk cId="3507116976" sldId="270"/>
        </pc:sldMkLst>
        <pc:spChg chg="mod">
          <ac:chgData name="Jason Foerch" userId="5dc6dd6a-089a-42b7-a432-399fa3a88477" providerId="ADAL" clId="{5FDB8ED9-32F6-474B-8F9F-3173125BE82D}" dt="2020-05-05T17:22:24.816" v="6305" actId="20577"/>
          <ac:spMkLst>
            <pc:docMk/>
            <pc:sldMk cId="3507116976" sldId="270"/>
            <ac:spMk id="4" creationId="{C07C45B8-4983-4FFB-BD8B-B2F43686E476}"/>
          </ac:spMkLst>
        </pc:spChg>
        <pc:graphicFrameChg chg="mod modGraphic">
          <ac:chgData name="Jason Foerch" userId="5dc6dd6a-089a-42b7-a432-399fa3a88477" providerId="ADAL" clId="{5FDB8ED9-32F6-474B-8F9F-3173125BE82D}" dt="2020-05-04T20:24:30.980" v="5919" actId="1076"/>
          <ac:graphicFrameMkLst>
            <pc:docMk/>
            <pc:sldMk cId="3507116976" sldId="270"/>
            <ac:graphicFrameMk id="7" creationId="{E1DAF2A5-EDFF-415A-BDEB-C482B9AC4525}"/>
          </ac:graphicFrameMkLst>
        </pc:graphicFrameChg>
        <pc:picChg chg="del">
          <ac:chgData name="Jason Foerch" userId="5dc6dd6a-089a-42b7-a432-399fa3a88477" providerId="ADAL" clId="{5FDB8ED9-32F6-474B-8F9F-3173125BE82D}" dt="2020-03-17T12:23:18.623" v="3095" actId="478"/>
          <ac:picMkLst>
            <pc:docMk/>
            <pc:sldMk cId="3507116976" sldId="270"/>
            <ac:picMk id="3" creationId="{85922F70-7B90-4476-8DA3-93071E8468B5}"/>
          </ac:picMkLst>
        </pc:picChg>
        <pc:picChg chg="add del ord">
          <ac:chgData name="Jason Foerch" userId="5dc6dd6a-089a-42b7-a432-399fa3a88477" providerId="ADAL" clId="{5FDB8ED9-32F6-474B-8F9F-3173125BE82D}" dt="2020-05-04T20:10:57.552" v="5828" actId="478"/>
          <ac:picMkLst>
            <pc:docMk/>
            <pc:sldMk cId="3507116976" sldId="270"/>
            <ac:picMk id="6" creationId="{B47176F4-C1E4-445E-BA6F-FD3D65F7B2CB}"/>
          </ac:picMkLst>
        </pc:picChg>
        <pc:picChg chg="add">
          <ac:chgData name="Jason Foerch" userId="5dc6dd6a-089a-42b7-a432-399fa3a88477" providerId="ADAL" clId="{5FDB8ED9-32F6-474B-8F9F-3173125BE82D}" dt="2020-05-04T20:10:58.404" v="5829"/>
          <ac:picMkLst>
            <pc:docMk/>
            <pc:sldMk cId="3507116976" sldId="270"/>
            <ac:picMk id="8" creationId="{15A123C3-A009-4CFC-99DD-BCEF5E18E978}"/>
          </ac:picMkLst>
        </pc:picChg>
      </pc:sldChg>
      <pc:sldChg chg="addSp delSp modSp add mod">
        <pc:chgData name="Jason Foerch" userId="5dc6dd6a-089a-42b7-a432-399fa3a88477" providerId="ADAL" clId="{5FDB8ED9-32F6-474B-8F9F-3173125BE82D}" dt="2020-05-05T17:22:40.756" v="6325" actId="20577"/>
        <pc:sldMkLst>
          <pc:docMk/>
          <pc:sldMk cId="4059597377" sldId="271"/>
        </pc:sldMkLst>
        <pc:spChg chg="mod">
          <ac:chgData name="Jason Foerch" userId="5dc6dd6a-089a-42b7-a432-399fa3a88477" providerId="ADAL" clId="{5FDB8ED9-32F6-474B-8F9F-3173125BE82D}" dt="2020-05-05T17:22:40.756" v="6325" actId="20577"/>
          <ac:spMkLst>
            <pc:docMk/>
            <pc:sldMk cId="4059597377" sldId="271"/>
            <ac:spMk id="4" creationId="{C07C45B8-4983-4FFB-BD8B-B2F43686E476}"/>
          </ac:spMkLst>
        </pc:spChg>
        <pc:grpChg chg="add del mod">
          <ac:chgData name="Jason Foerch" userId="5dc6dd6a-089a-42b7-a432-399fa3a88477" providerId="ADAL" clId="{5FDB8ED9-32F6-474B-8F9F-3173125BE82D}" dt="2020-03-17T12:27:44.363" v="3168"/>
          <ac:grpSpMkLst>
            <pc:docMk/>
            <pc:sldMk cId="4059597377" sldId="271"/>
            <ac:grpSpMk id="6" creationId="{BA651F8E-5790-4C22-A431-BC219EDCB0BF}"/>
          </ac:grpSpMkLst>
        </pc:grpChg>
        <pc:grpChg chg="add del">
          <ac:chgData name="Jason Foerch" userId="5dc6dd6a-089a-42b7-a432-399fa3a88477" providerId="ADAL" clId="{5FDB8ED9-32F6-474B-8F9F-3173125BE82D}" dt="2020-03-17T12:27:47.571" v="3170"/>
          <ac:grpSpMkLst>
            <pc:docMk/>
            <pc:sldMk cId="4059597377" sldId="271"/>
            <ac:grpSpMk id="17" creationId="{7AB1FA1B-CD25-4A66-9746-A977E151C54F}"/>
          </ac:grpSpMkLst>
        </pc:grpChg>
        <pc:graphicFrameChg chg="mod modGraphic">
          <ac:chgData name="Jason Foerch" userId="5dc6dd6a-089a-42b7-a432-399fa3a88477" providerId="ADAL" clId="{5FDB8ED9-32F6-474B-8F9F-3173125BE82D}" dt="2020-05-04T20:36:38.252" v="6293" actId="14100"/>
          <ac:graphicFrameMkLst>
            <pc:docMk/>
            <pc:sldMk cId="4059597377" sldId="271"/>
            <ac:graphicFrameMk id="35" creationId="{8ED9BE5A-E89B-43D7-B6FE-223D219DC8AD}"/>
          </ac:graphicFrameMkLst>
        </pc:graphicFrameChg>
        <pc:picChg chg="del ord">
          <ac:chgData name="Jason Foerch" userId="5dc6dd6a-089a-42b7-a432-399fa3a88477" providerId="ADAL" clId="{5FDB8ED9-32F6-474B-8F9F-3173125BE82D}" dt="2020-03-17T12:28:20.269" v="3177" actId="478"/>
          <ac:picMkLst>
            <pc:docMk/>
            <pc:sldMk cId="4059597377" sldId="271"/>
            <ac:picMk id="2" creationId="{0F5C845B-D685-4C95-8F3C-03080CDF7F2F}"/>
          </ac:picMkLst>
        </pc:picChg>
        <pc:picChg chg="add del mod ord">
          <ac:chgData name="Jason Foerch" userId="5dc6dd6a-089a-42b7-a432-399fa3a88477" providerId="ADAL" clId="{5FDB8ED9-32F6-474B-8F9F-3173125BE82D}" dt="2020-05-04T20:15:29.032" v="5911" actId="478"/>
          <ac:picMkLst>
            <pc:docMk/>
            <pc:sldMk cId="4059597377" sldId="271"/>
            <ac:picMk id="3" creationId="{0C487456-6CFA-4B7D-B1CE-C6E80E9E8656}"/>
          </ac:picMkLst>
        </pc:picChg>
        <pc:picChg chg="add">
          <ac:chgData name="Jason Foerch" userId="5dc6dd6a-089a-42b7-a432-399fa3a88477" providerId="ADAL" clId="{5FDB8ED9-32F6-474B-8F9F-3173125BE82D}" dt="2020-05-04T20:15:29.431" v="5912"/>
          <ac:picMkLst>
            <pc:docMk/>
            <pc:sldMk cId="4059597377" sldId="271"/>
            <ac:picMk id="6" creationId="{27FC0E96-12F9-457A-9C0E-93FA73ADE820}"/>
          </ac:picMkLst>
        </pc:picChg>
      </pc:sldChg>
      <pc:sldChg chg="add">
        <pc:chgData name="Jason Foerch" userId="5dc6dd6a-089a-42b7-a432-399fa3a88477" providerId="ADAL" clId="{5FDB8ED9-32F6-474B-8F9F-3173125BE82D}" dt="2020-05-04T20:06:19.025" v="5757"/>
        <pc:sldMkLst>
          <pc:docMk/>
          <pc:sldMk cId="769921261" sldId="272"/>
        </pc:sldMkLst>
      </pc:sldChg>
      <pc:sldChg chg="addSp modSp add del mod">
        <pc:chgData name="Jason Foerch" userId="5dc6dd6a-089a-42b7-a432-399fa3a88477" providerId="ADAL" clId="{5FDB8ED9-32F6-474B-8F9F-3173125BE82D}" dt="2020-05-05T17:23:14.233" v="6336" actId="2696"/>
        <pc:sldMkLst>
          <pc:docMk/>
          <pc:sldMk cId="2980258862" sldId="273"/>
        </pc:sldMkLst>
        <pc:spChg chg="add mod">
          <ac:chgData name="Jason Foerch" userId="5dc6dd6a-089a-42b7-a432-399fa3a88477" providerId="ADAL" clId="{5FDB8ED9-32F6-474B-8F9F-3173125BE82D}" dt="2020-05-04T20:14:30.364" v="5899" actId="14100"/>
          <ac:spMkLst>
            <pc:docMk/>
            <pc:sldMk cId="2980258862" sldId="273"/>
            <ac:spMk id="5" creationId="{4CF91E97-E7C6-4633-B41D-D3448F4B36A7}"/>
          </ac:spMkLst>
        </pc:spChg>
        <pc:spChg chg="add mod">
          <ac:chgData name="Jason Foerch" userId="5dc6dd6a-089a-42b7-a432-399fa3a88477" providerId="ADAL" clId="{5FDB8ED9-32F6-474B-8F9F-3173125BE82D}" dt="2020-05-04T20:14:26.315" v="5898" actId="14100"/>
          <ac:spMkLst>
            <pc:docMk/>
            <pc:sldMk cId="2980258862" sldId="273"/>
            <ac:spMk id="22" creationId="{5B60085A-1290-49D4-950D-1B997482A7EC}"/>
          </ac:spMkLst>
        </pc:spChg>
      </pc:sldChg>
    </pc:docChg>
  </pc:docChgLst>
  <pc:docChgLst>
    <pc:chgData name="Sathishbabu Anna Sathya Moorthy" userId="877ec9fd-2767-4021-8a58-546df28036e5" providerId="ADAL" clId="{29D1ABC0-DD98-4AA5-8DBF-88CCA010F1B3}"/>
    <pc:docChg chg="undo custSel addSld delSld modSld">
      <pc:chgData name="Sathishbabu Anna Sathya Moorthy" userId="877ec9fd-2767-4021-8a58-546df28036e5" providerId="ADAL" clId="{29D1ABC0-DD98-4AA5-8DBF-88CCA010F1B3}" dt="2021-07-14T23:52:12.455" v="111" actId="14100"/>
      <pc:docMkLst>
        <pc:docMk/>
      </pc:docMkLst>
      <pc:sldChg chg="del">
        <pc:chgData name="Sathishbabu Anna Sathya Moorthy" userId="877ec9fd-2767-4021-8a58-546df28036e5" providerId="ADAL" clId="{29D1ABC0-DD98-4AA5-8DBF-88CCA010F1B3}" dt="2021-07-14T23:37:20.787" v="1" actId="47"/>
        <pc:sldMkLst>
          <pc:docMk/>
          <pc:sldMk cId="1224155370" sldId="264"/>
        </pc:sldMkLst>
      </pc:sldChg>
      <pc:sldChg chg="del">
        <pc:chgData name="Sathishbabu Anna Sathya Moorthy" userId="877ec9fd-2767-4021-8a58-546df28036e5" providerId="ADAL" clId="{29D1ABC0-DD98-4AA5-8DBF-88CCA010F1B3}" dt="2021-07-14T23:37:51.110" v="5" actId="47"/>
        <pc:sldMkLst>
          <pc:docMk/>
          <pc:sldMk cId="104688657" sldId="276"/>
        </pc:sldMkLst>
      </pc:sldChg>
      <pc:sldChg chg="modSp mod">
        <pc:chgData name="Sathishbabu Anna Sathya Moorthy" userId="877ec9fd-2767-4021-8a58-546df28036e5" providerId="ADAL" clId="{29D1ABC0-DD98-4AA5-8DBF-88CCA010F1B3}" dt="2021-07-14T23:38:22.452" v="6"/>
        <pc:sldMkLst>
          <pc:docMk/>
          <pc:sldMk cId="110819607" sldId="280"/>
        </pc:sldMkLst>
        <pc:spChg chg="mod">
          <ac:chgData name="Sathishbabu Anna Sathya Moorthy" userId="877ec9fd-2767-4021-8a58-546df28036e5" providerId="ADAL" clId="{29D1ABC0-DD98-4AA5-8DBF-88CCA010F1B3}" dt="2021-07-14T23:38:22.452" v="6"/>
          <ac:spMkLst>
            <pc:docMk/>
            <pc:sldMk cId="110819607" sldId="280"/>
            <ac:spMk id="4" creationId="{19AB4516-FD1F-4AD4-AA3A-9395F8B7A1F9}"/>
          </ac:spMkLst>
        </pc:spChg>
      </pc:sldChg>
      <pc:sldChg chg="modSp add mod">
        <pc:chgData name="Sathishbabu Anna Sathya Moorthy" userId="877ec9fd-2767-4021-8a58-546df28036e5" providerId="ADAL" clId="{29D1ABC0-DD98-4AA5-8DBF-88CCA010F1B3}" dt="2021-07-14T23:52:12.455" v="111" actId="14100"/>
        <pc:sldMkLst>
          <pc:docMk/>
          <pc:sldMk cId="1229735303" sldId="2147469608"/>
        </pc:sldMkLst>
        <pc:spChg chg="mod">
          <ac:chgData name="Sathishbabu Anna Sathya Moorthy" userId="877ec9fd-2767-4021-8a58-546df28036e5" providerId="ADAL" clId="{29D1ABC0-DD98-4AA5-8DBF-88CCA010F1B3}" dt="2021-07-14T23:40:54.802" v="30" actId="408"/>
          <ac:spMkLst>
            <pc:docMk/>
            <pc:sldMk cId="1229735303" sldId="2147469608"/>
            <ac:spMk id="3" creationId="{064AC8D0-A66E-41D5-B6F4-6AC57CBE7996}"/>
          </ac:spMkLst>
        </pc:spChg>
        <pc:spChg chg="mod">
          <ac:chgData name="Sathishbabu Anna Sathya Moorthy" userId="877ec9fd-2767-4021-8a58-546df28036e5" providerId="ADAL" clId="{29D1ABC0-DD98-4AA5-8DBF-88CCA010F1B3}" dt="2021-07-14T23:51:49.266" v="109" actId="1035"/>
          <ac:spMkLst>
            <pc:docMk/>
            <pc:sldMk cId="1229735303" sldId="2147469608"/>
            <ac:spMk id="5" creationId="{0859C3C0-3977-4026-AE61-604B01050953}"/>
          </ac:spMkLst>
        </pc:spChg>
        <pc:spChg chg="mod">
          <ac:chgData name="Sathishbabu Anna Sathya Moorthy" userId="877ec9fd-2767-4021-8a58-546df28036e5" providerId="ADAL" clId="{29D1ABC0-DD98-4AA5-8DBF-88CCA010F1B3}" dt="2021-07-14T23:51:49.266" v="109" actId="1035"/>
          <ac:spMkLst>
            <pc:docMk/>
            <pc:sldMk cId="1229735303" sldId="2147469608"/>
            <ac:spMk id="11" creationId="{CDA188C9-3A60-4AAE-9E98-4A4277FEEC20}"/>
          </ac:spMkLst>
        </pc:spChg>
        <pc:spChg chg="mod">
          <ac:chgData name="Sathishbabu Anna Sathya Moorthy" userId="877ec9fd-2767-4021-8a58-546df28036e5" providerId="ADAL" clId="{29D1ABC0-DD98-4AA5-8DBF-88CCA010F1B3}" dt="2021-07-14T23:40:37.041" v="28" actId="1076"/>
          <ac:spMkLst>
            <pc:docMk/>
            <pc:sldMk cId="1229735303" sldId="2147469608"/>
            <ac:spMk id="12" creationId="{D9485679-7BCB-4CCD-9890-F92083DDEA85}"/>
          </ac:spMkLst>
        </pc:spChg>
        <pc:spChg chg="mod">
          <ac:chgData name="Sathishbabu Anna Sathya Moorthy" userId="877ec9fd-2767-4021-8a58-546df28036e5" providerId="ADAL" clId="{29D1ABC0-DD98-4AA5-8DBF-88CCA010F1B3}" dt="2021-07-14T23:51:49.266" v="109" actId="1035"/>
          <ac:spMkLst>
            <pc:docMk/>
            <pc:sldMk cId="1229735303" sldId="2147469608"/>
            <ac:spMk id="13" creationId="{284D2E54-D0CC-4599-9E43-1420C7835110}"/>
          </ac:spMkLst>
        </pc:spChg>
        <pc:spChg chg="mod">
          <ac:chgData name="Sathishbabu Anna Sathya Moorthy" userId="877ec9fd-2767-4021-8a58-546df28036e5" providerId="ADAL" clId="{29D1ABC0-DD98-4AA5-8DBF-88CCA010F1B3}" dt="2021-07-14T23:51:49.266" v="109" actId="1035"/>
          <ac:spMkLst>
            <pc:docMk/>
            <pc:sldMk cId="1229735303" sldId="2147469608"/>
            <ac:spMk id="14" creationId="{6CA68921-3D11-41E4-B391-43822A352E37}"/>
          </ac:spMkLst>
        </pc:spChg>
        <pc:spChg chg="mod">
          <ac:chgData name="Sathishbabu Anna Sathya Moorthy" userId="877ec9fd-2767-4021-8a58-546df28036e5" providerId="ADAL" clId="{29D1ABC0-DD98-4AA5-8DBF-88CCA010F1B3}" dt="2021-07-14T23:42:49.113" v="42" actId="1076"/>
          <ac:spMkLst>
            <pc:docMk/>
            <pc:sldMk cId="1229735303" sldId="2147469608"/>
            <ac:spMk id="15" creationId="{12534374-BCD9-487D-BA6E-1D2E5FC0884D}"/>
          </ac:spMkLst>
        </pc:spChg>
        <pc:spChg chg="mod">
          <ac:chgData name="Sathishbabu Anna Sathya Moorthy" userId="877ec9fd-2767-4021-8a58-546df28036e5" providerId="ADAL" clId="{29D1ABC0-DD98-4AA5-8DBF-88CCA010F1B3}" dt="2021-07-14T23:48:14.738" v="67" actId="14100"/>
          <ac:spMkLst>
            <pc:docMk/>
            <pc:sldMk cId="1229735303" sldId="2147469608"/>
            <ac:spMk id="17" creationId="{962CC5A3-E4F6-4D80-81F5-789B75A35631}"/>
          </ac:spMkLst>
        </pc:spChg>
        <pc:spChg chg="mod">
          <ac:chgData name="Sathishbabu Anna Sathya Moorthy" userId="877ec9fd-2767-4021-8a58-546df28036e5" providerId="ADAL" clId="{29D1ABC0-DD98-4AA5-8DBF-88CCA010F1B3}" dt="2021-07-14T23:47:10.278" v="56" actId="1076"/>
          <ac:spMkLst>
            <pc:docMk/>
            <pc:sldMk cId="1229735303" sldId="2147469608"/>
            <ac:spMk id="18" creationId="{99220916-5964-4ED1-8660-5BE717822777}"/>
          </ac:spMkLst>
        </pc:spChg>
        <pc:spChg chg="mod">
          <ac:chgData name="Sathishbabu Anna Sathya Moorthy" userId="877ec9fd-2767-4021-8a58-546df28036e5" providerId="ADAL" clId="{29D1ABC0-DD98-4AA5-8DBF-88CCA010F1B3}" dt="2021-07-14T23:47:19.183" v="57" actId="1076"/>
          <ac:spMkLst>
            <pc:docMk/>
            <pc:sldMk cId="1229735303" sldId="2147469608"/>
            <ac:spMk id="19" creationId="{FC82B98C-0321-4A28-9F0E-6A94724B526C}"/>
          </ac:spMkLst>
        </pc:spChg>
        <pc:spChg chg="mod">
          <ac:chgData name="Sathishbabu Anna Sathya Moorthy" userId="877ec9fd-2767-4021-8a58-546df28036e5" providerId="ADAL" clId="{29D1ABC0-DD98-4AA5-8DBF-88CCA010F1B3}" dt="2021-07-14T23:52:12.455" v="111" actId="14100"/>
          <ac:spMkLst>
            <pc:docMk/>
            <pc:sldMk cId="1229735303" sldId="2147469608"/>
            <ac:spMk id="20" creationId="{B2123593-BC6A-4CF3-AF1B-2589D24610C4}"/>
          </ac:spMkLst>
        </pc:spChg>
        <pc:spChg chg="mod">
          <ac:chgData name="Sathishbabu Anna Sathya Moorthy" userId="877ec9fd-2767-4021-8a58-546df28036e5" providerId="ADAL" clId="{29D1ABC0-DD98-4AA5-8DBF-88CCA010F1B3}" dt="2021-07-14T23:51:38.427" v="107" actId="1035"/>
          <ac:spMkLst>
            <pc:docMk/>
            <pc:sldMk cId="1229735303" sldId="2147469608"/>
            <ac:spMk id="21" creationId="{1B526CDC-7946-43A8-9086-3049145BEF8A}"/>
          </ac:spMkLst>
        </pc:spChg>
        <pc:spChg chg="mod">
          <ac:chgData name="Sathishbabu Anna Sathya Moorthy" userId="877ec9fd-2767-4021-8a58-546df28036e5" providerId="ADAL" clId="{29D1ABC0-DD98-4AA5-8DBF-88CCA010F1B3}" dt="2021-07-14T23:48:04.086" v="64" actId="14100"/>
          <ac:spMkLst>
            <pc:docMk/>
            <pc:sldMk cId="1229735303" sldId="2147469608"/>
            <ac:spMk id="23" creationId="{C987651B-334D-4B13-8CE0-BB9271AF7724}"/>
          </ac:spMkLst>
        </pc:spChg>
        <pc:spChg chg="mod">
          <ac:chgData name="Sathishbabu Anna Sathya Moorthy" userId="877ec9fd-2767-4021-8a58-546df28036e5" providerId="ADAL" clId="{29D1ABC0-DD98-4AA5-8DBF-88CCA010F1B3}" dt="2021-07-14T23:52:05.386" v="110" actId="14100"/>
          <ac:spMkLst>
            <pc:docMk/>
            <pc:sldMk cId="1229735303" sldId="2147469608"/>
            <ac:spMk id="27" creationId="{4E7EB817-567A-4250-AA92-329F433F3203}"/>
          </ac:spMkLst>
        </pc:spChg>
        <pc:grpChg chg="mod">
          <ac:chgData name="Sathishbabu Anna Sathya Moorthy" userId="877ec9fd-2767-4021-8a58-546df28036e5" providerId="ADAL" clId="{29D1ABC0-DD98-4AA5-8DBF-88CCA010F1B3}" dt="2021-07-14T23:50:05.204" v="89" actId="1036"/>
          <ac:grpSpMkLst>
            <pc:docMk/>
            <pc:sldMk cId="1229735303" sldId="2147469608"/>
            <ac:grpSpMk id="4" creationId="{ED6AFCA3-BA6C-448A-9700-8D8D02E1D87B}"/>
          </ac:grpSpMkLst>
        </pc:grpChg>
      </pc:sldChg>
      <pc:sldChg chg="add">
        <pc:chgData name="Sathishbabu Anna Sathya Moorthy" userId="877ec9fd-2767-4021-8a58-546df28036e5" providerId="ADAL" clId="{29D1ABC0-DD98-4AA5-8DBF-88CCA010F1B3}" dt="2021-07-14T23:37:45.254" v="4"/>
        <pc:sldMkLst>
          <pc:docMk/>
          <pc:sldMk cId="203614963" sldId="2147469609"/>
        </pc:sldMkLst>
      </pc:sldChg>
      <pc:sldChg chg="add del">
        <pc:chgData name="Sathishbabu Anna Sathya Moorthy" userId="877ec9fd-2767-4021-8a58-546df28036e5" providerId="ADAL" clId="{29D1ABC0-DD98-4AA5-8DBF-88CCA010F1B3}" dt="2021-07-14T23:37:45.227" v="3" actId="22"/>
        <pc:sldMkLst>
          <pc:docMk/>
          <pc:sldMk cId="2133598589" sldId="2147469609"/>
        </pc:sldMkLst>
      </pc:sldChg>
      <pc:sldChg chg="add">
        <pc:chgData name="Sathishbabu Anna Sathya Moorthy" userId="877ec9fd-2767-4021-8a58-546df28036e5" providerId="ADAL" clId="{29D1ABC0-DD98-4AA5-8DBF-88CCA010F1B3}" dt="2021-07-14T23:46:42.162" v="55" actId="22"/>
        <pc:sldMkLst>
          <pc:docMk/>
          <pc:sldMk cId="3243452514" sldId="2147469610"/>
        </pc:sldMkLst>
      </pc:sldChg>
      <pc:sldMasterChg chg="addSldLayout delSldLayout modSldLayout">
        <pc:chgData name="Sathishbabu Anna Sathya Moorthy" userId="877ec9fd-2767-4021-8a58-546df28036e5" providerId="ADAL" clId="{29D1ABC0-DD98-4AA5-8DBF-88CCA010F1B3}" dt="2021-07-14T23:37:45.227" v="3" actId="22"/>
        <pc:sldMasterMkLst>
          <pc:docMk/>
          <pc:sldMasterMk cId="306354927" sldId="2147483683"/>
        </pc:sldMasterMkLst>
        <pc:sldLayoutChg chg="add del mod">
          <pc:chgData name="Sathishbabu Anna Sathya Moorthy" userId="877ec9fd-2767-4021-8a58-546df28036e5" providerId="ADAL" clId="{29D1ABC0-DD98-4AA5-8DBF-88CCA010F1B3}" dt="2021-07-14T23:37:45.227" v="3" actId="22"/>
          <pc:sldLayoutMkLst>
            <pc:docMk/>
            <pc:sldMasterMk cId="306354927" sldId="2147483683"/>
            <pc:sldLayoutMk cId="2940000189" sldId="2147483713"/>
          </pc:sldLayoutMkLst>
        </pc:sldLayoutChg>
      </pc:sldMasterChg>
    </pc:docChg>
  </pc:docChgLst>
  <pc:docChgLst>
    <pc:chgData name="Shiva Rampally" userId="S::shrampal@microsoft.com::42f5fa94-8ecb-487b-bd57-145d9814c3b1" providerId="AD" clId="Web-{9AB854D6-4FE6-FFCB-9335-EAACE031A85F}"/>
    <pc:docChg chg="sldOrd">
      <pc:chgData name="Shiva Rampally" userId="S::shrampal@microsoft.com::42f5fa94-8ecb-487b-bd57-145d9814c3b1" providerId="AD" clId="Web-{9AB854D6-4FE6-FFCB-9335-EAACE031A85F}" dt="2020-03-19T14:43:52.486" v="0"/>
      <pc:docMkLst>
        <pc:docMk/>
      </pc:docMkLst>
      <pc:sldChg chg="ord">
        <pc:chgData name="Shiva Rampally" userId="S::shrampal@microsoft.com::42f5fa94-8ecb-487b-bd57-145d9814c3b1" providerId="AD" clId="Web-{9AB854D6-4FE6-FFCB-9335-EAACE031A85F}" dt="2020-03-19T14:43:52.486" v="0"/>
        <pc:sldMkLst>
          <pc:docMk/>
          <pc:sldMk cId="4283712025" sldId="25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3-27T19:43:14.472"/>
    </inkml:context>
    <inkml:brush xml:id="br0">
      <inkml:brushProperty name="width" value="0.05" units="cm"/>
      <inkml:brushProperty name="height" value="0.05" units="cm"/>
    </inkml:brush>
  </inkml:definitions>
  <inkml:trace contextRef="#ctx0" brushRef="#br0">16 0 128,'-15'31'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2:00:34.635"/>
    </inkml:context>
    <inkml:brush xml:id="br0">
      <inkml:brushProperty name="width" value="0.05" units="cm"/>
      <inkml:brushProperty name="height" value="0.05" units="cm"/>
    </inkml:brush>
  </inkml:definitions>
  <inkml:trace contextRef="#ctx0" brushRef="#br0">10 0 128,'-9'45'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2:01:06.804"/>
    </inkml:context>
    <inkml:brush xml:id="br0">
      <inkml:brushProperty name="width" value="0.05" units="cm"/>
      <inkml:brushProperty name="height" value="0.05" units="cm"/>
    </inkml:brush>
  </inkml:definitions>
  <inkml:trace contextRef="#ctx0" brushRef="#br0">10 0 128,'-9'45'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2:01:52.845"/>
    </inkml:context>
    <inkml:brush xml:id="br0">
      <inkml:brushProperty name="width" value="0.05" units="cm"/>
      <inkml:brushProperty name="height" value="0.05" units="cm"/>
    </inkml:brush>
  </inkml:definitions>
  <inkml:trace contextRef="#ctx0" brushRef="#br0">10 0 128,'-9'45'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1:54:54.320"/>
    </inkml:context>
    <inkml:brush xml:id="br0">
      <inkml:brushProperty name="width" value="0.05" units="cm"/>
      <inkml:brushProperty name="height" value="0.05" units="cm"/>
    </inkml:brush>
  </inkml:definitions>
  <inkml:trace contextRef="#ctx0" brushRef="#br0">11 0 128,'-10'45'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1:53:11.426"/>
    </inkml:context>
    <inkml:brush xml:id="br0">
      <inkml:brushProperty name="width" value="0.05" units="cm"/>
      <inkml:brushProperty name="height" value="0.05" units="cm"/>
    </inkml:brush>
  </inkml:definitions>
  <inkml:trace contextRef="#ctx0" brushRef="#br0">11 0 128,'-10'45'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1:55:27.304"/>
    </inkml:context>
    <inkml:brush xml:id="br0">
      <inkml:brushProperty name="width" value="0.05" units="cm"/>
      <inkml:brushProperty name="height" value="0.05" units="cm"/>
    </inkml:brush>
  </inkml:definitions>
  <inkml:trace contextRef="#ctx0" brushRef="#br0">10 0 128,'-9'45'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1:56:09.975"/>
    </inkml:context>
    <inkml:brush xml:id="br0">
      <inkml:brushProperty name="width" value="0.05" units="cm"/>
      <inkml:brushProperty name="height" value="0.05" units="cm"/>
    </inkml:brush>
  </inkml:definitions>
  <inkml:trace contextRef="#ctx0" brushRef="#br0">10 0 128,'-9'45'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1:57:46.007"/>
    </inkml:context>
    <inkml:brush xml:id="br0">
      <inkml:brushProperty name="width" value="0.05" units="cm"/>
      <inkml:brushProperty name="height" value="0.05" units="cm"/>
    </inkml:brush>
  </inkml:definitions>
  <inkml:trace contextRef="#ctx0" brushRef="#br0">10 0 128,'-9'45'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1:58:19.962"/>
    </inkml:context>
    <inkml:brush xml:id="br0">
      <inkml:brushProperty name="width" value="0.05" units="cm"/>
      <inkml:brushProperty name="height" value="0.05" units="cm"/>
    </inkml:brush>
  </inkml:definitions>
  <inkml:trace contextRef="#ctx0" brushRef="#br0">10 0 128,'-9'45'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1:59:05.127"/>
    </inkml:context>
    <inkml:brush xml:id="br0">
      <inkml:brushProperty name="width" value="0.05" units="cm"/>
      <inkml:brushProperty name="height" value="0.05" units="cm"/>
    </inkml:brush>
  </inkml:definitions>
  <inkml:trace contextRef="#ctx0" brushRef="#br0">10 0 128,'-9'45'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15T21:59:44.601"/>
    </inkml:context>
    <inkml:brush xml:id="br0">
      <inkml:brushProperty name="width" value="0.05" units="cm"/>
      <inkml:brushProperty name="height" value="0.05" units="cm"/>
    </inkml:brush>
  </inkml:definitions>
  <inkml:trace contextRef="#ctx0" brushRef="#br0">10 0 128,'-9'45'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6FB01639-DAD8-417F-B6AC-D42D39109840}" type="datetimeFigureOut">
              <a:rPr lang="en-US" smtClean="0"/>
              <a:t>8/20/2021</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0CC247E1-C257-4AB9-9DAC-F81548284872}" type="slidenum">
              <a:rPr lang="en-US" smtClean="0"/>
              <a:t>‹#›</a:t>
            </a:fld>
            <a:endParaRPr lang="en-US"/>
          </a:p>
        </p:txBody>
      </p:sp>
    </p:spTree>
    <p:extLst>
      <p:ext uri="{BB962C8B-B14F-4D97-AF65-F5344CB8AC3E}">
        <p14:creationId xmlns:p14="http://schemas.microsoft.com/office/powerpoint/2010/main" val="3742968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a:solidFill>
                  <a:srgbClr val="252423"/>
                </a:solidFill>
                <a:effectLst/>
                <a:latin typeface="Segoe UI" panose="020B0502040204020203" pitchFamily="34" charset="0"/>
              </a:rPr>
              <a:t>There are 4 key areas we are addressing the challenges in education today with our business applications solution;</a:t>
            </a:r>
          </a:p>
          <a:p>
            <a:endParaRPr lang="en-US" sz="1800"/>
          </a:p>
          <a:p>
            <a:r>
              <a:rPr lang="en-US" sz="1800"/>
              <a:t>Track fan and guest engagement</a:t>
            </a:r>
          </a:p>
          <a:p>
            <a:r>
              <a:rPr lang="en-US" sz="1800"/>
              <a:t>Digitize your events, attractions, and venues</a:t>
            </a:r>
          </a:p>
          <a:p>
            <a:r>
              <a:rPr lang="en-US" sz="1800"/>
              <a:t>Manage your data across your sports organization</a:t>
            </a:r>
          </a:p>
          <a:p>
            <a:r>
              <a:rPr lang="en-US" sz="1800"/>
              <a:t>Energize your product and ticket sales</a:t>
            </a:r>
          </a:p>
          <a:p>
            <a:endParaRPr lang="en-US" sz="1800"/>
          </a:p>
          <a:p>
            <a:r>
              <a:rPr lang="en-US" sz="1800" b="1"/>
              <a:t>More details:</a:t>
            </a:r>
          </a:p>
          <a:p>
            <a:pPr marL="228600" marR="0" lvl="0" indent="-2286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reate apps quickly for a variety of purposes, driven by your organization’s needs and imagination</a:t>
            </a:r>
          </a:p>
          <a:p>
            <a:pPr marL="228600" marR="0" lvl="0" indent="-2286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Keep up with the rapidly changing needs of your customers, fans, patrons, visitors or guests </a:t>
            </a:r>
          </a:p>
          <a:p>
            <a:pPr marL="228600" marR="0" lvl="0" indent="-2286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Find new ways to connect with, convert, enable, empower, protect or reward internal and external audiences </a:t>
            </a:r>
          </a:p>
          <a:p>
            <a:pPr marL="228600" marR="0" lvl="0" indent="-2286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Support a better experience for your employees and customers however they want to engage</a:t>
            </a:r>
          </a:p>
          <a:p>
            <a:endParaRPr lang="en-US" sz="180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9583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1161176" marR="0" lvl="0" indent="0" algn="l" defTabSz="185727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636FC54-4243-448E-A7BB-054CD672AC6D}" type="datetime8">
              <a:rPr kumimoji="0" lang="en-US" sz="24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0/2021 2:36 PM</a:t>
            </a:fld>
            <a:endParaRPr kumimoji="0" lang="en-US" sz="2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4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2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1903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hyperlink" Target="https://travelbetweenthepages.com/2014/01/13/they-heart-nyc/" TargetMode="Externa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D3FA0-F757-4E22-B26C-878E1F62B8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95243C-FBC9-46B1-924C-5F3E926940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86FB72-FA0D-498C-BFBC-3B435D0233B7}"/>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5" name="Footer Placeholder 4">
            <a:extLst>
              <a:ext uri="{FF2B5EF4-FFF2-40B4-BE49-F238E27FC236}">
                <a16:creationId xmlns:a16="http://schemas.microsoft.com/office/drawing/2014/main" id="{C764AB03-A89D-4C6D-AAB5-E5EEA22DA9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21CDE9-8D84-42E9-99ED-56E9925F0357}"/>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18832419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B04C3-66E8-4628-85BF-C62318B90D4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5875D17-3B59-4DB2-9441-ACF44B2D37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3EDD8E-9D15-46B9-90F1-518B11C9E301}"/>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5" name="Footer Placeholder 4">
            <a:extLst>
              <a:ext uri="{FF2B5EF4-FFF2-40B4-BE49-F238E27FC236}">
                <a16:creationId xmlns:a16="http://schemas.microsoft.com/office/drawing/2014/main" id="{472B6A28-2D22-4EDE-B4F1-A29FD1781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A364B4-D778-43DB-B1A1-8FA203DEE23C}"/>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39457103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BF3A6D-68CD-40C4-A7C6-AB13D96981D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0A956E-3720-4D29-9301-D6F6DC3A5B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BF1837-7D86-4126-884F-1BA9D303910F}"/>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5" name="Footer Placeholder 4">
            <a:extLst>
              <a:ext uri="{FF2B5EF4-FFF2-40B4-BE49-F238E27FC236}">
                <a16:creationId xmlns:a16="http://schemas.microsoft.com/office/drawing/2014/main" id="{44C98CD9-DBA6-48C3-8E8E-FF31156473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F57540-417B-4C1F-82A7-7FBD5664FFE3}"/>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37468317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a:extLst>
              <a:ext uri="{FF2B5EF4-FFF2-40B4-BE49-F238E27FC236}">
                <a16:creationId xmlns:a16="http://schemas.microsoft.com/office/drawing/2014/main" id="{48769E76-A6A7-4E07-9F58-57DD9CC75DEE}"/>
              </a:ext>
            </a:extLst>
          </p:cNvPr>
          <p:cNvPicPr>
            <a:picLocks noChangeAspect="1"/>
          </p:cNvPicPr>
          <p:nvPr userDrawn="1"/>
        </p:nvPicPr>
        <p:blipFill>
          <a:blip r:embed="rId3">
            <a:extLst>
              <a:ext uri="{837473B0-CC2E-450A-ABE3-18F120FF3D39}">
                <a1611:picAttrSrcUrl xmlns:a1611="http://schemas.microsoft.com/office/drawing/2016/11/main" r:id="rId4"/>
              </a:ext>
            </a:extLst>
          </a:blip>
          <a:srcRect/>
          <a:stretch/>
        </p:blipFill>
        <p:spPr>
          <a:xfrm>
            <a:off x="4804968" y="1285874"/>
            <a:ext cx="7387032" cy="4616895"/>
          </a:xfrm>
          <a:prstGeom prst="rect">
            <a:avLst/>
          </a:prstGeom>
        </p:spPr>
      </p:pic>
    </p:spTree>
    <p:extLst>
      <p:ext uri="{BB962C8B-B14F-4D97-AF65-F5344CB8AC3E}">
        <p14:creationId xmlns:p14="http://schemas.microsoft.com/office/powerpoint/2010/main" val="4292191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98400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25115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14155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8056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72820" y="-153211"/>
            <a:ext cx="11046358" cy="1015578"/>
          </a:xfrm>
        </p:spPr>
        <p:txBody>
          <a:bodyPr lIns="0" tIns="0" rIns="0" bIns="0"/>
          <a:lstStyle>
            <a:lvl1pPr>
              <a:defRPr sz="6598" b="0"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87592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72820" y="-153211"/>
            <a:ext cx="11046358" cy="1015578"/>
          </a:xfrm>
        </p:spPr>
        <p:txBody>
          <a:bodyPr lIns="0" tIns="0" rIns="0" bIns="0"/>
          <a:lstStyle>
            <a:lvl1pPr>
              <a:defRPr sz="6598" b="0"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673892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1CAFBF2-3DF0-49FD-BA68-218F3F57DBC5}"/>
              </a:ext>
            </a:extLst>
          </p:cNvPr>
          <p:cNvSpPr>
            <a:spLocks noGrp="1"/>
          </p:cNvSpPr>
          <p:nvPr>
            <p:ph type="sldNum" sz="quarter" idx="11"/>
          </p:nvPr>
        </p:nvSpPr>
        <p:spPr>
          <a:xfrm>
            <a:off x="11681492" y="6565391"/>
            <a:ext cx="459708" cy="246221"/>
          </a:xfrm>
          <a:prstGeom prst="rect">
            <a:avLst/>
          </a:prstGeom>
        </p:spPr>
        <p:txBody>
          <a:bodyPr/>
          <a:lstStyle/>
          <a:p>
            <a:fld id="{EAA0DCFB-5E65-472C-A423-BA3AA87976EA}" type="slidenum">
              <a:rPr lang="en-IN" smtClean="0"/>
              <a:pPr/>
              <a:t>‹#›</a:t>
            </a:fld>
            <a:endParaRPr lang="en-IN"/>
          </a:p>
        </p:txBody>
      </p:sp>
      <p:sp>
        <p:nvSpPr>
          <p:cNvPr id="2" name="Title 1">
            <a:extLst>
              <a:ext uri="{FF2B5EF4-FFF2-40B4-BE49-F238E27FC236}">
                <a16:creationId xmlns:a16="http://schemas.microsoft.com/office/drawing/2014/main" id="{9E87283F-ACDD-4440-856F-0EB67792798F}"/>
              </a:ext>
            </a:extLst>
          </p:cNvPr>
          <p:cNvSpPr>
            <a:spLocks noGrp="1"/>
          </p:cNvSpPr>
          <p:nvPr>
            <p:ph type="title"/>
          </p:nvPr>
        </p:nvSpPr>
        <p:spPr>
          <a:xfrm>
            <a:off x="588262" y="457200"/>
            <a:ext cx="11552937" cy="430887"/>
          </a:xfrm>
        </p:spPr>
        <p:txBody>
          <a:bodyPr/>
          <a:lstStyle/>
          <a:p>
            <a:r>
              <a:rPr lang="en-US"/>
              <a:t>Click to edit Master title style</a:t>
            </a:r>
          </a:p>
        </p:txBody>
      </p:sp>
    </p:spTree>
    <p:extLst>
      <p:ext uri="{BB962C8B-B14F-4D97-AF65-F5344CB8AC3E}">
        <p14:creationId xmlns:p14="http://schemas.microsoft.com/office/powerpoint/2010/main" val="22901762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5BEFD-4307-4B41-8256-8E5C8537F7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706C2C-CB5C-4BEA-B6F0-4540229088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926CD6-E6A6-4972-A585-A9BDB39715DB}"/>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5" name="Footer Placeholder 4">
            <a:extLst>
              <a:ext uri="{FF2B5EF4-FFF2-40B4-BE49-F238E27FC236}">
                <a16:creationId xmlns:a16="http://schemas.microsoft.com/office/drawing/2014/main" id="{4C5EE288-E43A-4361-994A-C208F36C8C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299CA6-344F-4B13-9291-9678EF66443C}"/>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12948690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C00F2A1-59C8-43B8-ABC8-557A70790218}"/>
              </a:ext>
            </a:extLst>
          </p:cNvPr>
          <p:cNvSpPr/>
          <p:nvPr userDrawn="1"/>
        </p:nvSpPr>
        <p:spPr bwMode="auto">
          <a:xfrm>
            <a:off x="11773279" y="6544469"/>
            <a:ext cx="125034" cy="1231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l" defTabSz="932472" fontAlgn="base">
              <a:spcBef>
                <a:spcPct val="0"/>
              </a:spcBef>
              <a:spcAft>
                <a:spcPct val="0"/>
              </a:spcAft>
            </a:pPr>
            <a:fld id="{0E8F3E8D-B09C-48C3-A73A-EBB876CC5B82}" type="slidenum">
              <a:rPr lang="en-US" sz="800" smtClean="0">
                <a:solidFill>
                  <a:schemeClr val="tx1"/>
                </a:solidFill>
                <a:ea typeface="Segoe UI" pitchFamily="34" charset="0"/>
                <a:cs typeface="Segoe UI" pitchFamily="34" charset="0"/>
              </a:rPr>
              <a:pPr algn="l" defTabSz="932472" fontAlgn="base">
                <a:spcBef>
                  <a:spcPct val="0"/>
                </a:spcBef>
                <a:spcAft>
                  <a:spcPct val="0"/>
                </a:spcAft>
              </a:pPr>
              <a:t>‹#›</a:t>
            </a:fld>
            <a:endParaRPr lang="en-US" sz="8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5069194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42379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AED37-99BA-45BE-9CD7-5239920B7B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FE798E9-1840-4574-9F38-AF82704EF9C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556E8A-6BA0-47A6-BE72-82F0440AD603}"/>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5" name="Footer Placeholder 4">
            <a:extLst>
              <a:ext uri="{FF2B5EF4-FFF2-40B4-BE49-F238E27FC236}">
                <a16:creationId xmlns:a16="http://schemas.microsoft.com/office/drawing/2014/main" id="{A933011B-DB58-4EC3-96A8-FC1F2F7315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9F52FC-8394-45F3-B3BD-ED0110D46F80}"/>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38980565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C2A76-8913-4E2C-8E23-25060E17F2A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A46A4B-087A-4C97-A8D1-2D7925EA67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D5958D-BC0E-4C3B-B47E-65B20BA8C192}"/>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5" name="Footer Placeholder 4">
            <a:extLst>
              <a:ext uri="{FF2B5EF4-FFF2-40B4-BE49-F238E27FC236}">
                <a16:creationId xmlns:a16="http://schemas.microsoft.com/office/drawing/2014/main" id="{8FCD34AA-4619-41A5-932D-CD25353A3C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83DD3D-C01E-47B3-9EB5-DF8C9C63918C}"/>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8551592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D80FB-CDF3-400A-B8AD-8B62FEBA76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07CD444-5CF5-4D45-87F0-73D59C4949A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0D25F1A-297B-4A39-BA08-2F3F3BC4F07A}"/>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5" name="Footer Placeholder 4">
            <a:extLst>
              <a:ext uri="{FF2B5EF4-FFF2-40B4-BE49-F238E27FC236}">
                <a16:creationId xmlns:a16="http://schemas.microsoft.com/office/drawing/2014/main" id="{AB7C9F88-4F19-4AD0-BB95-5E4ED2F7C9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BA1D8C-4193-41BE-839E-F2CE08E60785}"/>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2173632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6BFCB-F851-43C7-B1F7-BCA306AA7D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06122E-DEC5-4952-B6BA-4BB3216A8C6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FF683C-6A0C-4422-9F6B-3362C0E6BD8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D546C20-3FE3-494D-9C45-14DECC0DB4C5}"/>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6" name="Footer Placeholder 5">
            <a:extLst>
              <a:ext uri="{FF2B5EF4-FFF2-40B4-BE49-F238E27FC236}">
                <a16:creationId xmlns:a16="http://schemas.microsoft.com/office/drawing/2014/main" id="{793CB8B7-C756-4361-8571-28FB8F514F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E3131E-35AB-426F-AFE1-3A6FA107ECD8}"/>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2615599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D7AAD-1BF0-4704-9EAD-5C129FB3022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3EE660-698C-4296-A1D4-9EF2C0824B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257F45-D6B6-4C62-837A-D817B1AADBC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155ECFD-89B3-4F7B-A37C-03A81A4696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A8D388D-2264-4E84-8978-DA12AB7269A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CA7E65C-7EB8-42E1-94A4-E33D9092022B}"/>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8" name="Footer Placeholder 7">
            <a:extLst>
              <a:ext uri="{FF2B5EF4-FFF2-40B4-BE49-F238E27FC236}">
                <a16:creationId xmlns:a16="http://schemas.microsoft.com/office/drawing/2014/main" id="{40D4E0F9-9EC8-48BD-8852-561F1CBE9DC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1EFC8A-4349-49B6-AD9F-A54F9EDFA38C}"/>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4016017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BCE98-C517-40C0-A27B-088340CA46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CEA96C5-C70B-42A0-87A1-EC56B0B02B17}"/>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4" name="Footer Placeholder 3">
            <a:extLst>
              <a:ext uri="{FF2B5EF4-FFF2-40B4-BE49-F238E27FC236}">
                <a16:creationId xmlns:a16="http://schemas.microsoft.com/office/drawing/2014/main" id="{E7309A17-F407-4A5E-BB6D-9350D5D17D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CED1F1-8A30-480A-AC47-4CF0D9B5CD2D}"/>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18328328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5F8ED05-0C4B-4005-BB53-D82E05603119}"/>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3" name="Footer Placeholder 2">
            <a:extLst>
              <a:ext uri="{FF2B5EF4-FFF2-40B4-BE49-F238E27FC236}">
                <a16:creationId xmlns:a16="http://schemas.microsoft.com/office/drawing/2014/main" id="{4D033470-6742-47E4-9EFD-4745A46DBD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41F91FB-42F1-4090-BCD6-7DD86D5FB457}"/>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30364876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EB956-8CE6-44CF-9951-1564B3B1FB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1ED27D7-27A8-439A-B751-471E057474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6892504-4B3A-45FD-8317-D26FBB7F16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A5402A-2F45-4233-88A7-FD8D4A729D54}"/>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6" name="Footer Placeholder 5">
            <a:extLst>
              <a:ext uri="{FF2B5EF4-FFF2-40B4-BE49-F238E27FC236}">
                <a16:creationId xmlns:a16="http://schemas.microsoft.com/office/drawing/2014/main" id="{46DAD047-DCDE-4192-BAA4-E7DB3205A3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FD9488-529E-4320-AF83-CAF6F7A3F159}"/>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23769803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F3C0C-8FBF-41E8-87A3-EDFAD354B02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039252C-1399-4CCC-8BEA-6CF25D81527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94484E3-C4BC-4320-847F-518357CC5EBC}"/>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5" name="Footer Placeholder 4">
            <a:extLst>
              <a:ext uri="{FF2B5EF4-FFF2-40B4-BE49-F238E27FC236}">
                <a16:creationId xmlns:a16="http://schemas.microsoft.com/office/drawing/2014/main" id="{4EEEE824-2060-4C8C-803E-73779C3789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C9394A-7C0F-40E1-B8C5-16BFBFB9E64A}"/>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25536430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E981A-BFC1-4F03-B413-4985F0733F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8E839DA-D3B1-4AA1-A62F-9A52913FE20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A518B5F-B4FE-42F1-B44F-28213EE00F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BBC2ACF-B7A3-4E1A-9145-307D3693B752}"/>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6" name="Footer Placeholder 5">
            <a:extLst>
              <a:ext uri="{FF2B5EF4-FFF2-40B4-BE49-F238E27FC236}">
                <a16:creationId xmlns:a16="http://schemas.microsoft.com/office/drawing/2014/main" id="{14DC04BE-CF78-4DC4-936E-564A16ABED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740F3A-638C-4EE3-8FCC-5B4CB3AE5CE1}"/>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39825035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CBDA6-DF16-4A10-A28D-0D5D51B978C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2E85C8-FD02-47A6-9687-DFE967EF029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CB6389-E428-4140-8E88-1D1751ADD8A0}"/>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5" name="Footer Placeholder 4">
            <a:extLst>
              <a:ext uri="{FF2B5EF4-FFF2-40B4-BE49-F238E27FC236}">
                <a16:creationId xmlns:a16="http://schemas.microsoft.com/office/drawing/2014/main" id="{84FCE6B4-CC50-4818-93FE-DAD3EF26B6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DF87A7-98C4-4CAC-A653-1A2C9BD6C853}"/>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8703097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3510DF-EB98-495C-B6D0-1E39025A61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803E1E-CAEF-4A61-856A-FEF7727493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F75DC4-AD99-401B-9986-0D5D8C6A3B08}"/>
              </a:ext>
            </a:extLst>
          </p:cNvPr>
          <p:cNvSpPr>
            <a:spLocks noGrp="1"/>
          </p:cNvSpPr>
          <p:nvPr>
            <p:ph type="dt" sz="half" idx="10"/>
          </p:nvPr>
        </p:nvSpPr>
        <p:spPr/>
        <p:txBody>
          <a:bodyPr/>
          <a:lstStyle/>
          <a:p>
            <a:fld id="{355D36D6-0FC1-4BA0-B809-EB0346912B8D}" type="datetimeFigureOut">
              <a:rPr lang="en-US" smtClean="0"/>
              <a:t>8/20/2021</a:t>
            </a:fld>
            <a:endParaRPr lang="en-US"/>
          </a:p>
        </p:txBody>
      </p:sp>
      <p:sp>
        <p:nvSpPr>
          <p:cNvPr id="5" name="Footer Placeholder 4">
            <a:extLst>
              <a:ext uri="{FF2B5EF4-FFF2-40B4-BE49-F238E27FC236}">
                <a16:creationId xmlns:a16="http://schemas.microsoft.com/office/drawing/2014/main" id="{A3693736-F12E-49E0-8E3D-92D9DA01F1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2DA4F-A0FF-431A-ABBB-F0E486D9ACA5}"/>
              </a:ext>
            </a:extLst>
          </p:cNvPr>
          <p:cNvSpPr>
            <a:spLocks noGrp="1"/>
          </p:cNvSpPr>
          <p:nvPr>
            <p:ph type="sldNum" sz="quarter" idx="12"/>
          </p:nvPr>
        </p:nvSpPr>
        <p:spPr/>
        <p:txBody>
          <a:bodyPr/>
          <a:lstStyle/>
          <a:p>
            <a:fld id="{C8845896-7D1B-4CE3-A305-88B69B936BA2}" type="slidenum">
              <a:rPr lang="en-US" smtClean="0"/>
              <a:t>‹#›</a:t>
            </a:fld>
            <a:endParaRPr lang="en-US"/>
          </a:p>
        </p:txBody>
      </p:sp>
    </p:spTree>
    <p:extLst>
      <p:ext uri="{BB962C8B-B14F-4D97-AF65-F5344CB8AC3E}">
        <p14:creationId xmlns:p14="http://schemas.microsoft.com/office/powerpoint/2010/main" val="42185062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053EA256-16C0-47E2-ADC6-598FC1B432F2}"/>
              </a:ext>
            </a:extLst>
          </p:cNvPr>
          <p:cNvPicPr>
            <a:picLocks noChangeAspect="1"/>
          </p:cNvPicPr>
          <p:nvPr userDrawn="1"/>
        </p:nvPicPr>
        <p:blipFill>
          <a:blip r:embed="rId3"/>
          <a:stretch>
            <a:fillRect/>
          </a:stretch>
        </p:blipFill>
        <p:spPr>
          <a:xfrm>
            <a:off x="5341620" y="0"/>
            <a:ext cx="6850380" cy="6858000"/>
          </a:xfrm>
          <a:prstGeom prst="rect">
            <a:avLst/>
          </a:prstGeom>
        </p:spPr>
      </p:pic>
    </p:spTree>
    <p:extLst>
      <p:ext uri="{BB962C8B-B14F-4D97-AF65-F5344CB8AC3E}">
        <p14:creationId xmlns:p14="http://schemas.microsoft.com/office/powerpoint/2010/main" val="2651196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75911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92569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7943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54928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59025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0902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7C671-6765-4B9D-B3A2-464E3F3BAD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682AFC-B6B5-4EF7-AB67-25C11CDFAED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C4FA31-82A2-4550-9427-9287F6C0C21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D841F7E-CBC6-4A50-8CAE-6021979D7D07}"/>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6" name="Footer Placeholder 5">
            <a:extLst>
              <a:ext uri="{FF2B5EF4-FFF2-40B4-BE49-F238E27FC236}">
                <a16:creationId xmlns:a16="http://schemas.microsoft.com/office/drawing/2014/main" id="{54F9CA56-F114-4DE3-86B9-9C27A651CD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B61C2E-C727-4B2D-BBE6-5D623944DE7C}"/>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13095325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23391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92270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2354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00643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94929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135913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371167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38715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5930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05751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37F1A-7BB1-4D6C-B72B-7DE52F7833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C82CE3E-81EA-4999-AC8C-8495859D94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5DEAAAA-1BCF-4A27-9DA2-4619B5CA3EE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046219-16D1-484E-9959-D0E39BF07C1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1CF35E-5AE8-41F3-AD69-9080559E33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93DA88C-DF29-4261-BB03-B369A0FD8F28}"/>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8" name="Footer Placeholder 7">
            <a:extLst>
              <a:ext uri="{FF2B5EF4-FFF2-40B4-BE49-F238E27FC236}">
                <a16:creationId xmlns:a16="http://schemas.microsoft.com/office/drawing/2014/main" id="{686FA763-57D5-40C6-81ED-A5971619F41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48DBB0-0750-47A7-B0A5-F86D980FB905}"/>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24434736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566963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0173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19953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56147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68476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1397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5869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4085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9153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07285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44CC0-B2A3-4361-AA17-E3BD7F41B1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815E942-3813-4E8C-A354-89A8F734138E}"/>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4" name="Footer Placeholder 3">
            <a:extLst>
              <a:ext uri="{FF2B5EF4-FFF2-40B4-BE49-F238E27FC236}">
                <a16:creationId xmlns:a16="http://schemas.microsoft.com/office/drawing/2014/main" id="{3B397944-78EE-42CC-B914-B151396FBA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1A8D00-768B-46D6-A435-16FC84092ECA}"/>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18439889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199" y="6164490"/>
            <a:ext cx="7547209"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This presentation is for informational purposes only. MICROSOFT MAKES NO WARRANTIES, EXPRESS OR IMPLIED, IN THIS SUMMARY.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23723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20537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8D64DB-F8C3-4415-B7EB-736B988820ED}"/>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3" name="Footer Placeholder 2">
            <a:extLst>
              <a:ext uri="{FF2B5EF4-FFF2-40B4-BE49-F238E27FC236}">
                <a16:creationId xmlns:a16="http://schemas.microsoft.com/office/drawing/2014/main" id="{6D730D55-FAFB-486F-BA71-898F81A4AA6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411E95-29D6-4B5D-895F-6E4040F7E8EF}"/>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36912173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9A5BB-9E7E-41EF-AE9E-70A251BC54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26357A0-6243-4801-AC9D-64F712D585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5082F1-A2CD-4AB2-A371-A1D026DC9C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2ABF42-F64C-4231-8C6D-7CC95AD4F098}"/>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6" name="Footer Placeholder 5">
            <a:extLst>
              <a:ext uri="{FF2B5EF4-FFF2-40B4-BE49-F238E27FC236}">
                <a16:creationId xmlns:a16="http://schemas.microsoft.com/office/drawing/2014/main" id="{5252F682-FEE9-45F5-9BFE-A6FD5CA34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B722A5-BACB-400E-930D-51D07DAEA696}"/>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816409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2935A-CCF9-4014-8A55-944F2F35A6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7FC38DA-AE67-498F-B499-A18628F087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3C5541B-A21E-4ADB-AC48-60CD1D7C93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AB524B-7C03-4702-8053-57347B1210CC}"/>
              </a:ext>
            </a:extLst>
          </p:cNvPr>
          <p:cNvSpPr>
            <a:spLocks noGrp="1"/>
          </p:cNvSpPr>
          <p:nvPr>
            <p:ph type="dt" sz="half" idx="10"/>
          </p:nvPr>
        </p:nvSpPr>
        <p:spPr/>
        <p:txBody>
          <a:bodyPr/>
          <a:lstStyle/>
          <a:p>
            <a:fld id="{63DB6815-4F29-43CA-B3B6-BC8BFF87DA5B}" type="datetimeFigureOut">
              <a:rPr lang="en-US" smtClean="0"/>
              <a:t>8/20/2021</a:t>
            </a:fld>
            <a:endParaRPr lang="en-US"/>
          </a:p>
        </p:txBody>
      </p:sp>
      <p:sp>
        <p:nvSpPr>
          <p:cNvPr id="6" name="Footer Placeholder 5">
            <a:extLst>
              <a:ext uri="{FF2B5EF4-FFF2-40B4-BE49-F238E27FC236}">
                <a16:creationId xmlns:a16="http://schemas.microsoft.com/office/drawing/2014/main" id="{7919B474-21ED-4124-AB1F-B3707C057C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64EE27-5E9A-4093-A563-F0F31891B6B4}"/>
              </a:ext>
            </a:extLst>
          </p:cNvPr>
          <p:cNvSpPr>
            <a:spLocks noGrp="1"/>
          </p:cNvSpPr>
          <p:nvPr>
            <p:ph type="sldNum" sz="quarter" idx="12"/>
          </p:nvPr>
        </p:nvSpPr>
        <p:spPr/>
        <p:txBody>
          <a:bodyPr/>
          <a:lstStyle/>
          <a:p>
            <a:fld id="{90498C9C-55F7-485D-8944-2C39125EBE0E}" type="slidenum">
              <a:rPr lang="en-US" smtClean="0"/>
              <a:t>‹#›</a:t>
            </a:fld>
            <a:endParaRPr lang="en-US"/>
          </a:p>
        </p:txBody>
      </p:sp>
    </p:spTree>
    <p:extLst>
      <p:ext uri="{BB962C8B-B14F-4D97-AF65-F5344CB8AC3E}">
        <p14:creationId xmlns:p14="http://schemas.microsoft.com/office/powerpoint/2010/main" val="13647139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image" Target="../media/image1.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8926D2-39B6-4B15-8716-3AE921584A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4AEF5C6-3389-44E1-B6E6-53F3A9C251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BEC21-D827-46ED-87BF-3804A49DF3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DB6815-4F29-43CA-B3B6-BC8BFF87DA5B}" type="datetimeFigureOut">
              <a:rPr lang="en-US" smtClean="0"/>
              <a:t>8/20/2021</a:t>
            </a:fld>
            <a:endParaRPr lang="en-US"/>
          </a:p>
        </p:txBody>
      </p:sp>
      <p:sp>
        <p:nvSpPr>
          <p:cNvPr id="5" name="Footer Placeholder 4">
            <a:extLst>
              <a:ext uri="{FF2B5EF4-FFF2-40B4-BE49-F238E27FC236}">
                <a16:creationId xmlns:a16="http://schemas.microsoft.com/office/drawing/2014/main" id="{BE34AAF8-5A22-4091-A924-25C8AFCCFB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6BCCB83-1EE9-421E-BECB-52ECBABEEC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498C9C-55F7-485D-8944-2C39125EBE0E}" type="slidenum">
              <a:rPr lang="en-US" smtClean="0"/>
              <a:t>‹#›</a:t>
            </a:fld>
            <a:endParaRPr lang="en-US"/>
          </a:p>
        </p:txBody>
      </p:sp>
    </p:spTree>
    <p:extLst>
      <p:ext uri="{BB962C8B-B14F-4D97-AF65-F5344CB8AC3E}">
        <p14:creationId xmlns:p14="http://schemas.microsoft.com/office/powerpoint/2010/main" val="29058231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858954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9D0B19-20F9-4CCB-A85E-B620E46543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4F53EB-8599-413B-AD49-FC6E4B3DF5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6AE38F-8441-4A38-8AFB-3BC35644673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5D36D6-0FC1-4BA0-B809-EB0346912B8D}" type="datetimeFigureOut">
              <a:rPr lang="en-US" smtClean="0"/>
              <a:t>8/20/2021</a:t>
            </a:fld>
            <a:endParaRPr lang="en-US"/>
          </a:p>
        </p:txBody>
      </p:sp>
      <p:sp>
        <p:nvSpPr>
          <p:cNvPr id="5" name="Footer Placeholder 4">
            <a:extLst>
              <a:ext uri="{FF2B5EF4-FFF2-40B4-BE49-F238E27FC236}">
                <a16:creationId xmlns:a16="http://schemas.microsoft.com/office/drawing/2014/main" id="{D133A6D9-E202-4B3D-986A-C532E6630E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5548779-0C0D-4F45-ADE0-C1ECEC861E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845896-7D1B-4CE3-A305-88B69B936BA2}" type="slidenum">
              <a:rPr lang="en-US" smtClean="0"/>
              <a:t>‹#›</a:t>
            </a:fld>
            <a:endParaRPr lang="en-US"/>
          </a:p>
        </p:txBody>
      </p:sp>
    </p:spTree>
    <p:extLst>
      <p:ext uri="{BB962C8B-B14F-4D97-AF65-F5344CB8AC3E}">
        <p14:creationId xmlns:p14="http://schemas.microsoft.com/office/powerpoint/2010/main" val="372484748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oolsToo_Slide" descr="ToolsToo_Slide">
            <a:extLst>
              <a:ext uri="{FF2B5EF4-FFF2-40B4-BE49-F238E27FC236}">
                <a16:creationId xmlns:a16="http://schemas.microsoft.com/office/drawing/2014/main" id="{F2719C0E-405C-4080-8C28-9899EBDBF13D}"/>
              </a:ext>
            </a:extLst>
          </p:cNvPr>
          <p:cNvSpPr/>
          <p:nvPr userDrawn="1"/>
        </p:nvSpPr>
        <p:spPr>
          <a:xfrm>
            <a:off x="0" y="0"/>
            <a:ext cx="12192000" cy="6858000"/>
          </a:xfrm>
          <a:prstGeom prst="rect">
            <a:avLst/>
          </a:prstGeom>
          <a:noFill/>
          <a:extLst>
            <a:ext uri="{909E8E84-426E-40DD-AFC4-6F175D3DCCD1}">
              <a14:hiddenFill xmlns:a14="http://schemas.microsoft.com/office/drawing/2010/main">
                <a:solidFill>
                  <a:schemeClr val="accent1"/>
                </a:solidFill>
              </a14:hiddenFill>
            </a:ext>
          </a:extLst>
        </p:spPr>
        <p:txBody>
          <a:bodyPr rtlCol="0" anchor="ctr">
            <a:noAutofit/>
          </a:bodyPr>
          <a:lstStyle/>
          <a:p>
            <a:pPr marR="0" algn="l">
              <a:spcBef>
                <a:spcPts val="0"/>
              </a:spcBef>
              <a:spcAft>
                <a:spcPts val="0"/>
              </a:spcAft>
              <a:buSzPts val="1000"/>
              <a:tabLst>
                <a:tab pos="457200" algn="l"/>
              </a:tabLst>
            </a:pPr>
            <a:endParaRPr lang="en-US" sz="1800">
              <a:solidFill>
                <a:schemeClr val="bg1"/>
              </a:solidFill>
              <a:latin typeface="Calibri" panose="020F0502020204030204" pitchFamily="34" charset="0"/>
              <a:ea typeface="Times New Roman" panose="02020603050405020304" pitchFamily="18"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06354927"/>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image" Target="../media/image12.png"/><Relationship Id="rId1" Type="http://schemas.openxmlformats.org/officeDocument/2006/relationships/slideLayout" Target="../slideLayouts/slideLayout23.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xml"/><Relationship Id="rId7" Type="http://schemas.openxmlformats.org/officeDocument/2006/relationships/image" Target="../media/image18.emf"/><Relationship Id="rId12" Type="http://schemas.openxmlformats.org/officeDocument/2006/relationships/image" Target="../media/image2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22.jpeg"/><Relationship Id="rId5" Type="http://schemas.openxmlformats.org/officeDocument/2006/relationships/notesSlide" Target="../notesSlides/notesSlide1.xml"/><Relationship Id="rId10" Type="http://schemas.openxmlformats.org/officeDocument/2006/relationships/image" Target="../media/image21.jpeg"/><Relationship Id="rId4" Type="http://schemas.openxmlformats.org/officeDocument/2006/relationships/slideLayout" Target="../slideLayouts/slideLayout38.xml"/><Relationship Id="rId9" Type="http://schemas.openxmlformats.org/officeDocument/2006/relationships/image" Target="../media/image2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customXml" Target="../ink/ink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E0D0104-F1A4-4CB1-BFC1-4D2B3A753E0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55316" y="6472325"/>
            <a:ext cx="2734623" cy="274320"/>
          </a:xfrm>
          <a:prstGeom prst="rect">
            <a:avLst/>
          </a:prstGeom>
        </p:spPr>
      </p:pic>
      <p:sp>
        <p:nvSpPr>
          <p:cNvPr id="4" name="Title 3">
            <a:extLst>
              <a:ext uri="{FF2B5EF4-FFF2-40B4-BE49-F238E27FC236}">
                <a16:creationId xmlns:a16="http://schemas.microsoft.com/office/drawing/2014/main" id="{2862D0DA-3734-4702-8569-78580ED336A6}"/>
              </a:ext>
            </a:extLst>
          </p:cNvPr>
          <p:cNvSpPr>
            <a:spLocks noGrp="1"/>
          </p:cNvSpPr>
          <p:nvPr>
            <p:ph type="title"/>
          </p:nvPr>
        </p:nvSpPr>
        <p:spPr>
          <a:xfrm>
            <a:off x="588263" y="1871544"/>
            <a:ext cx="4167887" cy="1661993"/>
          </a:xfrm>
        </p:spPr>
        <p:txBody>
          <a:bodyPr/>
          <a:lstStyle/>
          <a:p>
            <a:r>
              <a:rPr lang="en-US"/>
              <a:t>Media &amp; Entertainment</a:t>
            </a:r>
            <a:br>
              <a:rPr lang="en-US"/>
            </a:br>
            <a:r>
              <a:rPr lang="en-US"/>
              <a:t>Accelerator (v1/v2) </a:t>
            </a:r>
          </a:p>
        </p:txBody>
      </p:sp>
      <p:sp>
        <p:nvSpPr>
          <p:cNvPr id="3" name="Text Placeholder 2">
            <a:extLst>
              <a:ext uri="{FF2B5EF4-FFF2-40B4-BE49-F238E27FC236}">
                <a16:creationId xmlns:a16="http://schemas.microsoft.com/office/drawing/2014/main" id="{EF46BD70-867D-411D-A036-8E529A59C7FE}"/>
              </a:ext>
            </a:extLst>
          </p:cNvPr>
          <p:cNvSpPr>
            <a:spLocks noGrp="1"/>
          </p:cNvSpPr>
          <p:nvPr>
            <p:ph type="body" sz="quarter" idx="12"/>
          </p:nvPr>
        </p:nvSpPr>
        <p:spPr/>
        <p:txBody>
          <a:bodyPr/>
          <a:lstStyle/>
          <a:p>
            <a:r>
              <a:rPr lang="en-US"/>
              <a:t>Solution Layering &amp; Packaging</a:t>
            </a:r>
          </a:p>
        </p:txBody>
      </p:sp>
    </p:spTree>
    <p:extLst>
      <p:ext uri="{BB962C8B-B14F-4D97-AF65-F5344CB8AC3E}">
        <p14:creationId xmlns:p14="http://schemas.microsoft.com/office/powerpoint/2010/main" val="12922703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C45B8-4983-4FFB-BD8B-B2F43686E476}"/>
              </a:ext>
            </a:extLst>
          </p:cNvPr>
          <p:cNvSpPr txBox="1"/>
          <p:nvPr/>
        </p:nvSpPr>
        <p:spPr>
          <a:xfrm flipH="1">
            <a:off x="163406" y="41471"/>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Events &amp; Venues -&gt; Primary Tables</a:t>
            </a:r>
          </a:p>
        </p:txBody>
      </p:sp>
      <p:sp>
        <p:nvSpPr>
          <p:cNvPr id="37" name="Arrow: Right 36">
            <a:extLst>
              <a:ext uri="{FF2B5EF4-FFF2-40B4-BE49-F238E27FC236}">
                <a16:creationId xmlns:a16="http://schemas.microsoft.com/office/drawing/2014/main" id="{C1B9BF59-FD78-4598-AEEA-8D4C555B37D4}"/>
              </a:ext>
            </a:extLst>
          </p:cNvPr>
          <p:cNvSpPr/>
          <p:nvPr/>
        </p:nvSpPr>
        <p:spPr>
          <a:xfrm>
            <a:off x="6904234" y="4143586"/>
            <a:ext cx="1017141" cy="577110"/>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35">
            <a:extLst>
              <a:ext uri="{FF2B5EF4-FFF2-40B4-BE49-F238E27FC236}">
                <a16:creationId xmlns:a16="http://schemas.microsoft.com/office/drawing/2014/main" id="{E1DAF2A5-EDFF-415A-BDEB-C482B9AC4525}"/>
              </a:ext>
            </a:extLst>
          </p:cNvPr>
          <p:cNvGraphicFramePr>
            <a:graphicFrameLocks noGrp="1"/>
          </p:cNvGraphicFramePr>
          <p:nvPr>
            <p:extLst>
              <p:ext uri="{D42A27DB-BD31-4B8C-83A1-F6EECF244321}">
                <p14:modId xmlns:p14="http://schemas.microsoft.com/office/powerpoint/2010/main" val="277861140"/>
              </p:ext>
            </p:extLst>
          </p:nvPr>
        </p:nvGraphicFramePr>
        <p:xfrm>
          <a:off x="8147407" y="840417"/>
          <a:ext cx="3450484" cy="5906213"/>
        </p:xfrm>
        <a:graphic>
          <a:graphicData uri="http://schemas.openxmlformats.org/drawingml/2006/table">
            <a:tbl>
              <a:tblPr firstRow="1" bandRow="1">
                <a:tableStyleId>{B301B821-A1FF-4177-AEE7-76D212191A09}</a:tableStyleId>
              </a:tblPr>
              <a:tblGrid>
                <a:gridCol w="3450484">
                  <a:extLst>
                    <a:ext uri="{9D8B030D-6E8A-4147-A177-3AD203B41FA5}">
                      <a16:colId xmlns:a16="http://schemas.microsoft.com/office/drawing/2014/main" val="832068167"/>
                    </a:ext>
                  </a:extLst>
                </a:gridCol>
              </a:tblGrid>
              <a:tr h="328123">
                <a:tc>
                  <a:txBody>
                    <a:bodyPr/>
                    <a:lstStyle/>
                    <a:p>
                      <a:r>
                        <a:rPr lang="en-US" sz="1400"/>
                        <a:t>Entity Name</a:t>
                      </a:r>
                    </a:p>
                  </a:txBody>
                  <a:tcPr/>
                </a:tc>
                <a:extLst>
                  <a:ext uri="{0D108BD9-81ED-4DB2-BD59-A6C34878D82A}">
                    <a16:rowId xmlns:a16="http://schemas.microsoft.com/office/drawing/2014/main" val="897896226"/>
                  </a:ext>
                </a:extLst>
              </a:tr>
              <a:tr h="328123">
                <a:tc>
                  <a:txBody>
                    <a:bodyPr/>
                    <a:lstStyle/>
                    <a:p>
                      <a:r>
                        <a:rPr lang="en-US" sz="1400"/>
                        <a:t>Attraction</a:t>
                      </a:r>
                    </a:p>
                  </a:txBody>
                  <a:tcPr/>
                </a:tc>
                <a:extLst>
                  <a:ext uri="{0D108BD9-81ED-4DB2-BD59-A6C34878D82A}">
                    <a16:rowId xmlns:a16="http://schemas.microsoft.com/office/drawing/2014/main" val="3675119453"/>
                  </a:ext>
                </a:extLst>
              </a:tr>
              <a:tr h="328123">
                <a:tc>
                  <a:txBody>
                    <a:bodyPr/>
                    <a:lstStyle/>
                    <a:p>
                      <a:r>
                        <a:rPr lang="en-US" sz="1400"/>
                        <a:t>Attraction Schedule</a:t>
                      </a:r>
                    </a:p>
                  </a:txBody>
                  <a:tcPr/>
                </a:tc>
                <a:extLst>
                  <a:ext uri="{0D108BD9-81ED-4DB2-BD59-A6C34878D82A}">
                    <a16:rowId xmlns:a16="http://schemas.microsoft.com/office/drawing/2014/main" val="3582976416"/>
                  </a:ext>
                </a:extLst>
              </a:tr>
              <a:tr h="328123">
                <a:tc>
                  <a:txBody>
                    <a:bodyPr/>
                    <a:lstStyle/>
                    <a:p>
                      <a:r>
                        <a:rPr lang="en-US" sz="1400"/>
                        <a:t>Attraction Track</a:t>
                      </a:r>
                    </a:p>
                  </a:txBody>
                  <a:tcPr/>
                </a:tc>
                <a:extLst>
                  <a:ext uri="{0D108BD9-81ED-4DB2-BD59-A6C34878D82A}">
                    <a16:rowId xmlns:a16="http://schemas.microsoft.com/office/drawing/2014/main" val="1842794880"/>
                  </a:ext>
                </a:extLst>
              </a:tr>
              <a:tr h="328123">
                <a:tc>
                  <a:txBody>
                    <a:bodyPr/>
                    <a:lstStyle/>
                    <a:p>
                      <a:r>
                        <a:rPr lang="en-US" sz="1400"/>
                        <a:t>Concession Partner</a:t>
                      </a:r>
                    </a:p>
                  </a:txBody>
                  <a:tcPr/>
                </a:tc>
                <a:extLst>
                  <a:ext uri="{0D108BD9-81ED-4DB2-BD59-A6C34878D82A}">
                    <a16:rowId xmlns:a16="http://schemas.microsoft.com/office/drawing/2014/main" val="1872078294"/>
                  </a:ext>
                </a:extLst>
              </a:tr>
              <a:tr h="328123">
                <a:tc>
                  <a:txBody>
                    <a:bodyPr/>
                    <a:lstStyle/>
                    <a:p>
                      <a:r>
                        <a:rPr lang="en-US" sz="1400"/>
                        <a:t>Concession Stand</a:t>
                      </a:r>
                    </a:p>
                  </a:txBody>
                  <a:tcPr/>
                </a:tc>
                <a:extLst>
                  <a:ext uri="{0D108BD9-81ED-4DB2-BD59-A6C34878D82A}">
                    <a16:rowId xmlns:a16="http://schemas.microsoft.com/office/drawing/2014/main" val="3690877147"/>
                  </a:ext>
                </a:extLst>
              </a:tr>
              <a:tr h="328122">
                <a:tc>
                  <a:txBody>
                    <a:bodyPr/>
                    <a:lstStyle/>
                    <a:p>
                      <a:pPr lvl="0">
                        <a:buNone/>
                      </a:pPr>
                      <a:r>
                        <a:rPr lang="en-US" sz="1400"/>
                        <a:t>Dispenser</a:t>
                      </a:r>
                    </a:p>
                  </a:txBody>
                  <a:tcPr/>
                </a:tc>
                <a:extLst>
                  <a:ext uri="{0D108BD9-81ED-4DB2-BD59-A6C34878D82A}">
                    <a16:rowId xmlns:a16="http://schemas.microsoft.com/office/drawing/2014/main" val="2655171683"/>
                  </a:ext>
                </a:extLst>
              </a:tr>
              <a:tr h="328123">
                <a:tc>
                  <a:txBody>
                    <a:bodyPr/>
                    <a:lstStyle/>
                    <a:p>
                      <a:r>
                        <a:rPr lang="en-US" sz="1400"/>
                        <a:t>Event Attraction</a:t>
                      </a:r>
                    </a:p>
                  </a:txBody>
                  <a:tcPr/>
                </a:tc>
                <a:extLst>
                  <a:ext uri="{0D108BD9-81ED-4DB2-BD59-A6C34878D82A}">
                    <a16:rowId xmlns:a16="http://schemas.microsoft.com/office/drawing/2014/main" val="4106622976"/>
                  </a:ext>
                </a:extLst>
              </a:tr>
              <a:tr h="328123">
                <a:tc>
                  <a:txBody>
                    <a:bodyPr/>
                    <a:lstStyle/>
                    <a:p>
                      <a:r>
                        <a:rPr lang="en-US" sz="1400"/>
                        <a:t>Event Schedule</a:t>
                      </a:r>
                    </a:p>
                  </a:txBody>
                  <a:tcPr/>
                </a:tc>
                <a:extLst>
                  <a:ext uri="{0D108BD9-81ED-4DB2-BD59-A6C34878D82A}">
                    <a16:rowId xmlns:a16="http://schemas.microsoft.com/office/drawing/2014/main" val="2624153393"/>
                  </a:ext>
                </a:extLst>
              </a:tr>
              <a:tr h="328123">
                <a:tc>
                  <a:txBody>
                    <a:bodyPr/>
                    <a:lstStyle/>
                    <a:p>
                      <a:r>
                        <a:rPr lang="en-US" sz="1400"/>
                        <a:t>Facility</a:t>
                      </a:r>
                    </a:p>
                  </a:txBody>
                  <a:tcPr/>
                </a:tc>
                <a:extLst>
                  <a:ext uri="{0D108BD9-81ED-4DB2-BD59-A6C34878D82A}">
                    <a16:rowId xmlns:a16="http://schemas.microsoft.com/office/drawing/2014/main" val="970915486"/>
                  </a:ext>
                </a:extLst>
              </a:tr>
              <a:tr h="328123">
                <a:tc>
                  <a:txBody>
                    <a:bodyPr/>
                    <a:lstStyle/>
                    <a:p>
                      <a:r>
                        <a:rPr lang="en-US" sz="1400"/>
                        <a:t>Gate</a:t>
                      </a:r>
                    </a:p>
                  </a:txBody>
                  <a:tcPr/>
                </a:tc>
                <a:extLst>
                  <a:ext uri="{0D108BD9-81ED-4DB2-BD59-A6C34878D82A}">
                    <a16:rowId xmlns:a16="http://schemas.microsoft.com/office/drawing/2014/main" val="4079358696"/>
                  </a:ext>
                </a:extLst>
              </a:tr>
              <a:tr h="328123">
                <a:tc>
                  <a:txBody>
                    <a:bodyPr/>
                    <a:lstStyle/>
                    <a:p>
                      <a:r>
                        <a:rPr lang="en-US" sz="1400"/>
                        <a:t>Hours of Operation</a:t>
                      </a:r>
                    </a:p>
                  </a:txBody>
                  <a:tcPr/>
                </a:tc>
                <a:extLst>
                  <a:ext uri="{0D108BD9-81ED-4DB2-BD59-A6C34878D82A}">
                    <a16:rowId xmlns:a16="http://schemas.microsoft.com/office/drawing/2014/main" val="2001159316"/>
                  </a:ext>
                </a:extLst>
              </a:tr>
              <a:tr h="328123">
                <a:tc>
                  <a:txBody>
                    <a:bodyPr/>
                    <a:lstStyle/>
                    <a:p>
                      <a:r>
                        <a:rPr lang="en-US" sz="1400"/>
                        <a:t>Media Event</a:t>
                      </a:r>
                    </a:p>
                  </a:txBody>
                  <a:tcPr/>
                </a:tc>
                <a:extLst>
                  <a:ext uri="{0D108BD9-81ED-4DB2-BD59-A6C34878D82A}">
                    <a16:rowId xmlns:a16="http://schemas.microsoft.com/office/drawing/2014/main" val="1022263111"/>
                  </a:ext>
                </a:extLst>
              </a:tr>
              <a:tr h="328123">
                <a:tc>
                  <a:txBody>
                    <a:bodyPr/>
                    <a:lstStyle/>
                    <a:p>
                      <a:r>
                        <a:rPr lang="en-US" sz="1400"/>
                        <a:t>Media Registration</a:t>
                      </a:r>
                    </a:p>
                  </a:txBody>
                  <a:tcPr/>
                </a:tc>
                <a:extLst>
                  <a:ext uri="{0D108BD9-81ED-4DB2-BD59-A6C34878D82A}">
                    <a16:rowId xmlns:a16="http://schemas.microsoft.com/office/drawing/2014/main" val="2813914646"/>
                  </a:ext>
                </a:extLst>
              </a:tr>
              <a:tr h="328123">
                <a:tc>
                  <a:txBody>
                    <a:bodyPr/>
                    <a:lstStyle/>
                    <a:p>
                      <a:r>
                        <a:rPr lang="en-US" sz="1400"/>
                        <a:t>Media Registration Status Log</a:t>
                      </a:r>
                    </a:p>
                  </a:txBody>
                  <a:tcPr/>
                </a:tc>
                <a:extLst>
                  <a:ext uri="{0D108BD9-81ED-4DB2-BD59-A6C34878D82A}">
                    <a16:rowId xmlns:a16="http://schemas.microsoft.com/office/drawing/2014/main" val="2119518049"/>
                  </a:ext>
                </a:extLst>
              </a:tr>
              <a:tr h="328123">
                <a:tc>
                  <a:txBody>
                    <a:bodyPr/>
                    <a:lstStyle/>
                    <a:p>
                      <a:r>
                        <a:rPr lang="en-US" sz="1400"/>
                        <a:t>Media Venue</a:t>
                      </a:r>
                    </a:p>
                  </a:txBody>
                  <a:tcPr/>
                </a:tc>
                <a:extLst>
                  <a:ext uri="{0D108BD9-81ED-4DB2-BD59-A6C34878D82A}">
                    <a16:rowId xmlns:a16="http://schemas.microsoft.com/office/drawing/2014/main" val="2961573711"/>
                  </a:ext>
                </a:extLst>
              </a:tr>
              <a:tr h="328123">
                <a:tc>
                  <a:txBody>
                    <a:bodyPr/>
                    <a:lstStyle/>
                    <a:p>
                      <a:r>
                        <a:rPr lang="en-US" sz="1400"/>
                        <a:t>Media Venue Image</a:t>
                      </a:r>
                    </a:p>
                  </a:txBody>
                  <a:tcPr/>
                </a:tc>
                <a:extLst>
                  <a:ext uri="{0D108BD9-81ED-4DB2-BD59-A6C34878D82A}">
                    <a16:rowId xmlns:a16="http://schemas.microsoft.com/office/drawing/2014/main" val="2383212943"/>
                  </a:ext>
                </a:extLst>
              </a:tr>
              <a:tr h="328123">
                <a:tc>
                  <a:txBody>
                    <a:bodyPr/>
                    <a:lstStyle/>
                    <a:p>
                      <a:r>
                        <a:rPr lang="en-US" sz="1400"/>
                        <a:t>Weather Condition</a:t>
                      </a:r>
                    </a:p>
                  </a:txBody>
                  <a:tcPr/>
                </a:tc>
                <a:extLst>
                  <a:ext uri="{0D108BD9-81ED-4DB2-BD59-A6C34878D82A}">
                    <a16:rowId xmlns:a16="http://schemas.microsoft.com/office/drawing/2014/main" val="4110130132"/>
                  </a:ext>
                </a:extLst>
              </a:tr>
            </a:tbl>
          </a:graphicData>
        </a:graphic>
      </p:graphicFrame>
      <p:grpSp>
        <p:nvGrpSpPr>
          <p:cNvPr id="21" name="Group 20">
            <a:extLst>
              <a:ext uri="{FF2B5EF4-FFF2-40B4-BE49-F238E27FC236}">
                <a16:creationId xmlns:a16="http://schemas.microsoft.com/office/drawing/2014/main" id="{1CF62BF7-31F8-4AB0-B8CE-01C62554C10E}"/>
              </a:ext>
            </a:extLst>
          </p:cNvPr>
          <p:cNvGrpSpPr/>
          <p:nvPr/>
        </p:nvGrpSpPr>
        <p:grpSpPr>
          <a:xfrm>
            <a:off x="205484" y="1160981"/>
            <a:ext cx="6503541"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22" name="Ink 21">
                  <a:extLst>
                    <a:ext uri="{FF2B5EF4-FFF2-40B4-BE49-F238E27FC236}">
                      <a16:creationId xmlns:a16="http://schemas.microsoft.com/office/drawing/2014/main" id="{3766068A-BA74-4941-9827-68ECB696D705}"/>
                    </a:ext>
                  </a:extLst>
                </p14:cNvPr>
                <p14:cNvContentPartPr/>
                <p14:nvPr/>
              </p14:nvContentPartPr>
              <p14:xfrm>
                <a:off x="8545730" y="2096877"/>
                <a:ext cx="5040" cy="12637"/>
              </p14:xfrm>
            </p:contentPart>
          </mc:Choice>
          <mc:Fallback>
            <p:pic>
              <p:nvPicPr>
                <p:cNvPr id="22" name="Ink 21">
                  <a:extLst>
                    <a:ext uri="{FF2B5EF4-FFF2-40B4-BE49-F238E27FC236}">
                      <a16:creationId xmlns:a16="http://schemas.microsoft.com/office/drawing/2014/main" id="{3766068A-BA74-4941-9827-68ECB696D705}"/>
                    </a:ext>
                  </a:extLst>
                </p:cNvPr>
                <p:cNvPicPr/>
                <p:nvPr/>
              </p:nvPicPr>
              <p:blipFill>
                <a:blip r:embed="rId3"/>
                <a:stretch>
                  <a:fillRect/>
                </a:stretch>
              </p:blipFill>
              <p:spPr>
                <a:xfrm>
                  <a:off x="8533130" y="2090009"/>
                  <a:ext cx="29736" cy="26098"/>
                </a:xfrm>
                <a:prstGeom prst="rect">
                  <a:avLst/>
                </a:prstGeom>
              </p:spPr>
            </p:pic>
          </mc:Fallback>
        </mc:AlternateContent>
        <p:sp>
          <p:nvSpPr>
            <p:cNvPr id="23" name="Rectangle 22">
              <a:extLst>
                <a:ext uri="{FF2B5EF4-FFF2-40B4-BE49-F238E27FC236}">
                  <a16:creationId xmlns:a16="http://schemas.microsoft.com/office/drawing/2014/main" id="{797C1473-A3B0-4A61-8868-63F474562E34}"/>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24" name="Rectangle 23">
              <a:extLst>
                <a:ext uri="{FF2B5EF4-FFF2-40B4-BE49-F238E27FC236}">
                  <a16:creationId xmlns:a16="http://schemas.microsoft.com/office/drawing/2014/main" id="{25F5CBC3-EE41-4896-9DA3-8DFF68D30873}"/>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25" name="Rectangle 24">
              <a:extLst>
                <a:ext uri="{FF2B5EF4-FFF2-40B4-BE49-F238E27FC236}">
                  <a16:creationId xmlns:a16="http://schemas.microsoft.com/office/drawing/2014/main" id="{C6C9130E-9A46-4B5E-A32D-3AC3D4EB403C}"/>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26" name="Rectangle 25">
              <a:extLst>
                <a:ext uri="{FF2B5EF4-FFF2-40B4-BE49-F238E27FC236}">
                  <a16:creationId xmlns:a16="http://schemas.microsoft.com/office/drawing/2014/main" id="{937ADF3D-5CA3-4737-9BEE-6BE37BC549D5}"/>
                </a:ext>
              </a:extLst>
            </p:cNvPr>
            <p:cNvSpPr/>
            <p:nvPr/>
          </p:nvSpPr>
          <p:spPr>
            <a:xfrm>
              <a:off x="1530530" y="4193592"/>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Events &amp; Venues</a:t>
              </a:r>
            </a:p>
          </p:txBody>
        </p:sp>
        <p:sp>
          <p:nvSpPr>
            <p:cNvPr id="27" name="Rectangle 26">
              <a:extLst>
                <a:ext uri="{FF2B5EF4-FFF2-40B4-BE49-F238E27FC236}">
                  <a16:creationId xmlns:a16="http://schemas.microsoft.com/office/drawing/2014/main" id="{11B60B04-67A8-4088-9E44-55EC1063BE3F}"/>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28" name="Rectangle 27">
              <a:extLst>
                <a:ext uri="{FF2B5EF4-FFF2-40B4-BE49-F238E27FC236}">
                  <a16:creationId xmlns:a16="http://schemas.microsoft.com/office/drawing/2014/main" id="{5005C64A-5552-4550-A14A-3A6930DB6249}"/>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29" name="Rectangle 28">
              <a:extLst>
                <a:ext uri="{FF2B5EF4-FFF2-40B4-BE49-F238E27FC236}">
                  <a16:creationId xmlns:a16="http://schemas.microsoft.com/office/drawing/2014/main" id="{6C2E91DE-C411-4199-8C90-10FDB1EAD015}"/>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46DAE90A-27A4-4010-8177-DD1BCC94B05A}"/>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31" name="Rectangle 30">
              <a:extLst>
                <a:ext uri="{FF2B5EF4-FFF2-40B4-BE49-F238E27FC236}">
                  <a16:creationId xmlns:a16="http://schemas.microsoft.com/office/drawing/2014/main" id="{9C7953AE-0E10-4163-B5F4-AED77D2FD521}"/>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9" name="Rectangle 48">
              <a:extLst>
                <a:ext uri="{FF2B5EF4-FFF2-40B4-BE49-F238E27FC236}">
                  <a16:creationId xmlns:a16="http://schemas.microsoft.com/office/drawing/2014/main" id="{B494E851-4CC3-45F7-9AB5-402F2E5623F7}"/>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50" name="Rectangle 49">
              <a:extLst>
                <a:ext uri="{FF2B5EF4-FFF2-40B4-BE49-F238E27FC236}">
                  <a16:creationId xmlns:a16="http://schemas.microsoft.com/office/drawing/2014/main" id="{187B39E8-F26A-46B1-8130-65533DC26F53}"/>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51" name="Rectangle 50">
              <a:extLst>
                <a:ext uri="{FF2B5EF4-FFF2-40B4-BE49-F238E27FC236}">
                  <a16:creationId xmlns:a16="http://schemas.microsoft.com/office/drawing/2014/main" id="{6F44436B-1954-47D4-86BE-F20FFACA6146}"/>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52" name="Rectangle 51">
              <a:extLst>
                <a:ext uri="{FF2B5EF4-FFF2-40B4-BE49-F238E27FC236}">
                  <a16:creationId xmlns:a16="http://schemas.microsoft.com/office/drawing/2014/main" id="{80C1D183-69CB-4263-8D7B-E7DB98A3BCFE}"/>
                </a:ext>
              </a:extLst>
            </p:cNvPr>
            <p:cNvSpPr/>
            <p:nvPr/>
          </p:nvSpPr>
          <p:spPr>
            <a:xfrm>
              <a:off x="1523864" y="1947644"/>
              <a:ext cx="4394758"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127A159E-4A43-4097-B6BE-3EA649C7674E}"/>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19847829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C45B8-4983-4FFB-BD8B-B2F43686E476}"/>
              </a:ext>
            </a:extLst>
          </p:cNvPr>
          <p:cNvSpPr txBox="1"/>
          <p:nvPr/>
        </p:nvSpPr>
        <p:spPr>
          <a:xfrm flipH="1">
            <a:off x="194228" y="-5780"/>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Events &amp; Venues -&gt; Enriched Tables</a:t>
            </a:r>
          </a:p>
        </p:txBody>
      </p:sp>
      <p:sp>
        <p:nvSpPr>
          <p:cNvPr id="37" name="Arrow: Right 36">
            <a:extLst>
              <a:ext uri="{FF2B5EF4-FFF2-40B4-BE49-F238E27FC236}">
                <a16:creationId xmlns:a16="http://schemas.microsoft.com/office/drawing/2014/main" id="{C1B9BF59-FD78-4598-AEEA-8D4C555B37D4}"/>
              </a:ext>
            </a:extLst>
          </p:cNvPr>
          <p:cNvSpPr/>
          <p:nvPr/>
        </p:nvSpPr>
        <p:spPr>
          <a:xfrm>
            <a:off x="7000160" y="4118756"/>
            <a:ext cx="952038" cy="601940"/>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35">
            <a:extLst>
              <a:ext uri="{FF2B5EF4-FFF2-40B4-BE49-F238E27FC236}">
                <a16:creationId xmlns:a16="http://schemas.microsoft.com/office/drawing/2014/main" id="{E1DAF2A5-EDFF-415A-BDEB-C482B9AC4525}"/>
              </a:ext>
            </a:extLst>
          </p:cNvPr>
          <p:cNvGraphicFramePr>
            <a:graphicFrameLocks noGrp="1"/>
          </p:cNvGraphicFramePr>
          <p:nvPr>
            <p:extLst>
              <p:ext uri="{D42A27DB-BD31-4B8C-83A1-F6EECF244321}">
                <p14:modId xmlns:p14="http://schemas.microsoft.com/office/powerpoint/2010/main" val="306921709"/>
              </p:ext>
            </p:extLst>
          </p:nvPr>
        </p:nvGraphicFramePr>
        <p:xfrm>
          <a:off x="8233344" y="3502290"/>
          <a:ext cx="3748434" cy="1801905"/>
        </p:xfrm>
        <a:graphic>
          <a:graphicData uri="http://schemas.openxmlformats.org/drawingml/2006/table">
            <a:tbl>
              <a:tblPr firstRow="1" bandRow="1">
                <a:tableStyleId>{B301B821-A1FF-4177-AEE7-76D212191A09}</a:tableStyleId>
              </a:tblPr>
              <a:tblGrid>
                <a:gridCol w="1845189">
                  <a:extLst>
                    <a:ext uri="{9D8B030D-6E8A-4147-A177-3AD203B41FA5}">
                      <a16:colId xmlns:a16="http://schemas.microsoft.com/office/drawing/2014/main" val="832068167"/>
                    </a:ext>
                  </a:extLst>
                </a:gridCol>
                <a:gridCol w="1903245">
                  <a:extLst>
                    <a:ext uri="{9D8B030D-6E8A-4147-A177-3AD203B41FA5}">
                      <a16:colId xmlns:a16="http://schemas.microsoft.com/office/drawing/2014/main" val="2702330717"/>
                    </a:ext>
                  </a:extLst>
                </a:gridCol>
              </a:tblGrid>
              <a:tr h="318545">
                <a:tc>
                  <a:txBody>
                    <a:bodyPr/>
                    <a:lstStyle/>
                    <a:p>
                      <a:r>
                        <a:rPr lang="en-US" sz="1400"/>
                        <a:t>Entity Name</a:t>
                      </a:r>
                    </a:p>
                  </a:txBody>
                  <a:tcPr/>
                </a:tc>
                <a:tc>
                  <a:txBody>
                    <a:bodyPr/>
                    <a:lstStyle/>
                    <a:p>
                      <a:r>
                        <a:rPr lang="en-US" sz="1400"/>
                        <a:t>Source</a:t>
                      </a:r>
                    </a:p>
                  </a:txBody>
                  <a:tcPr/>
                </a:tc>
                <a:extLst>
                  <a:ext uri="{0D108BD9-81ED-4DB2-BD59-A6C34878D82A}">
                    <a16:rowId xmlns:a16="http://schemas.microsoft.com/office/drawing/2014/main" val="897896226"/>
                  </a:ext>
                </a:extLst>
              </a:tr>
              <a:tr h="370840">
                <a:tc>
                  <a:txBody>
                    <a:bodyPr/>
                    <a:lstStyle/>
                    <a:p>
                      <a:r>
                        <a:rPr lang="en-US" sz="1400"/>
                        <a:t>Contact</a:t>
                      </a:r>
                    </a:p>
                  </a:txBody>
                  <a:tcPr/>
                </a:tc>
                <a:tc>
                  <a:txBody>
                    <a:bodyPr/>
                    <a:lstStyle/>
                    <a:p>
                      <a:r>
                        <a:rPr lang="en-US" sz="1400"/>
                        <a:t>Media Common</a:t>
                      </a:r>
                    </a:p>
                  </a:txBody>
                  <a:tcPr/>
                </a:tc>
                <a:extLst>
                  <a:ext uri="{0D108BD9-81ED-4DB2-BD59-A6C34878D82A}">
                    <a16:rowId xmlns:a16="http://schemas.microsoft.com/office/drawing/2014/main" val="675831119"/>
                  </a:ext>
                </a:extLst>
              </a:tr>
              <a:tr h="370840">
                <a:tc>
                  <a:txBody>
                    <a:bodyPr/>
                    <a:lstStyle/>
                    <a:p>
                      <a:r>
                        <a:rPr lang="en-US" sz="1400"/>
                        <a:t>Guest</a:t>
                      </a:r>
                    </a:p>
                  </a:txBody>
                  <a:tcPr/>
                </a:tc>
                <a:tc>
                  <a:txBody>
                    <a:bodyPr/>
                    <a:lstStyle/>
                    <a:p>
                      <a:r>
                        <a:rPr lang="en-US" sz="1400"/>
                        <a:t>Media Common</a:t>
                      </a:r>
                    </a:p>
                  </a:txBody>
                  <a:tcPr/>
                </a:tc>
                <a:extLst>
                  <a:ext uri="{0D108BD9-81ED-4DB2-BD59-A6C34878D82A}">
                    <a16:rowId xmlns:a16="http://schemas.microsoft.com/office/drawing/2014/main" val="1484611220"/>
                  </a:ext>
                </a:extLst>
              </a:tr>
              <a:tr h="370840">
                <a:tc>
                  <a:txBody>
                    <a:bodyPr/>
                    <a:lstStyle/>
                    <a:p>
                      <a:r>
                        <a:rPr lang="en-US" sz="1400"/>
                        <a:t>Media Asset</a:t>
                      </a:r>
                    </a:p>
                  </a:txBody>
                  <a:tcPr/>
                </a:tc>
                <a:tc>
                  <a:txBody>
                    <a:bodyPr/>
                    <a:lstStyle/>
                    <a:p>
                      <a:r>
                        <a:rPr lang="en-US" sz="1400"/>
                        <a:t>Media Common</a:t>
                      </a:r>
                    </a:p>
                  </a:txBody>
                  <a:tcPr/>
                </a:tc>
                <a:extLst>
                  <a:ext uri="{0D108BD9-81ED-4DB2-BD59-A6C34878D82A}">
                    <a16:rowId xmlns:a16="http://schemas.microsoft.com/office/drawing/2014/main" val="3701961487"/>
                  </a:ext>
                </a:extLst>
              </a:tr>
              <a:tr h="370840">
                <a:tc>
                  <a:txBody>
                    <a:bodyPr/>
                    <a:lstStyle/>
                    <a:p>
                      <a:r>
                        <a:rPr lang="en-US" sz="1400"/>
                        <a:t>Talent</a:t>
                      </a:r>
                    </a:p>
                  </a:txBody>
                  <a:tcPr/>
                </a:tc>
                <a:tc>
                  <a:txBody>
                    <a:bodyPr/>
                    <a:lstStyle/>
                    <a:p>
                      <a:r>
                        <a:rPr lang="en-US" sz="1400"/>
                        <a:t>Media Common</a:t>
                      </a:r>
                    </a:p>
                  </a:txBody>
                  <a:tcPr/>
                </a:tc>
                <a:extLst>
                  <a:ext uri="{0D108BD9-81ED-4DB2-BD59-A6C34878D82A}">
                    <a16:rowId xmlns:a16="http://schemas.microsoft.com/office/drawing/2014/main" val="451102312"/>
                  </a:ext>
                </a:extLst>
              </a:tr>
            </a:tbl>
          </a:graphicData>
        </a:graphic>
      </p:graphicFrame>
      <p:grpSp>
        <p:nvGrpSpPr>
          <p:cNvPr id="21" name="Group 20">
            <a:extLst>
              <a:ext uri="{FF2B5EF4-FFF2-40B4-BE49-F238E27FC236}">
                <a16:creationId xmlns:a16="http://schemas.microsoft.com/office/drawing/2014/main" id="{ADFDA03A-493B-4CFA-AF81-6B736F6A10B7}"/>
              </a:ext>
            </a:extLst>
          </p:cNvPr>
          <p:cNvGrpSpPr/>
          <p:nvPr/>
        </p:nvGrpSpPr>
        <p:grpSpPr>
          <a:xfrm>
            <a:off x="205484" y="1160981"/>
            <a:ext cx="6503541"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22" name="Ink 21">
                  <a:extLst>
                    <a:ext uri="{FF2B5EF4-FFF2-40B4-BE49-F238E27FC236}">
                      <a16:creationId xmlns:a16="http://schemas.microsoft.com/office/drawing/2014/main" id="{FD70DD72-2D1B-4677-BFB9-82FAC7D7D6B8}"/>
                    </a:ext>
                  </a:extLst>
                </p14:cNvPr>
                <p14:cNvContentPartPr/>
                <p14:nvPr/>
              </p14:nvContentPartPr>
              <p14:xfrm>
                <a:off x="8545730" y="2096877"/>
                <a:ext cx="5040" cy="12637"/>
              </p14:xfrm>
            </p:contentPart>
          </mc:Choice>
          <mc:Fallback>
            <p:pic>
              <p:nvPicPr>
                <p:cNvPr id="22" name="Ink 21">
                  <a:extLst>
                    <a:ext uri="{FF2B5EF4-FFF2-40B4-BE49-F238E27FC236}">
                      <a16:creationId xmlns:a16="http://schemas.microsoft.com/office/drawing/2014/main" id="{FD70DD72-2D1B-4677-BFB9-82FAC7D7D6B8}"/>
                    </a:ext>
                  </a:extLst>
                </p:cNvPr>
                <p:cNvPicPr/>
                <p:nvPr/>
              </p:nvPicPr>
              <p:blipFill>
                <a:blip r:embed="rId3"/>
                <a:stretch>
                  <a:fillRect/>
                </a:stretch>
              </p:blipFill>
              <p:spPr>
                <a:xfrm>
                  <a:off x="8533130" y="2090009"/>
                  <a:ext cx="29736" cy="26098"/>
                </a:xfrm>
                <a:prstGeom prst="rect">
                  <a:avLst/>
                </a:prstGeom>
              </p:spPr>
            </p:pic>
          </mc:Fallback>
        </mc:AlternateContent>
        <p:sp>
          <p:nvSpPr>
            <p:cNvPr id="23" name="Rectangle 22">
              <a:extLst>
                <a:ext uri="{FF2B5EF4-FFF2-40B4-BE49-F238E27FC236}">
                  <a16:creationId xmlns:a16="http://schemas.microsoft.com/office/drawing/2014/main" id="{4D654ACE-2ACC-4F44-96BF-773DABEF08CF}"/>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24" name="Rectangle 23">
              <a:extLst>
                <a:ext uri="{FF2B5EF4-FFF2-40B4-BE49-F238E27FC236}">
                  <a16:creationId xmlns:a16="http://schemas.microsoft.com/office/drawing/2014/main" id="{52AB97EE-DE09-4D7E-BDD3-E17E79166273}"/>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25" name="Rectangle 24">
              <a:extLst>
                <a:ext uri="{FF2B5EF4-FFF2-40B4-BE49-F238E27FC236}">
                  <a16:creationId xmlns:a16="http://schemas.microsoft.com/office/drawing/2014/main" id="{7F474DCE-7D8B-4050-A24E-31A270FFE421}"/>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26" name="Rectangle 25">
              <a:extLst>
                <a:ext uri="{FF2B5EF4-FFF2-40B4-BE49-F238E27FC236}">
                  <a16:creationId xmlns:a16="http://schemas.microsoft.com/office/drawing/2014/main" id="{59CC250C-83FA-41F4-A38E-37D42ABD8D11}"/>
                </a:ext>
              </a:extLst>
            </p:cNvPr>
            <p:cNvSpPr/>
            <p:nvPr/>
          </p:nvSpPr>
          <p:spPr>
            <a:xfrm>
              <a:off x="1530530" y="4193592"/>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Events &amp; Venues</a:t>
              </a:r>
            </a:p>
          </p:txBody>
        </p:sp>
        <p:sp>
          <p:nvSpPr>
            <p:cNvPr id="27" name="Rectangle 26">
              <a:extLst>
                <a:ext uri="{FF2B5EF4-FFF2-40B4-BE49-F238E27FC236}">
                  <a16:creationId xmlns:a16="http://schemas.microsoft.com/office/drawing/2014/main" id="{ED9C4531-F538-49AF-99EC-3982FAEC853F}"/>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28" name="Rectangle 27">
              <a:extLst>
                <a:ext uri="{FF2B5EF4-FFF2-40B4-BE49-F238E27FC236}">
                  <a16:creationId xmlns:a16="http://schemas.microsoft.com/office/drawing/2014/main" id="{32E16E87-4DC9-4BAD-995D-A8852B93591B}"/>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29" name="Rectangle 28">
              <a:extLst>
                <a:ext uri="{FF2B5EF4-FFF2-40B4-BE49-F238E27FC236}">
                  <a16:creationId xmlns:a16="http://schemas.microsoft.com/office/drawing/2014/main" id="{68312453-37B2-4F58-A640-7988807C8B10}"/>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A2D3131D-4784-4EF5-8852-8B069DB8BB24}"/>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31" name="Rectangle 30">
              <a:extLst>
                <a:ext uri="{FF2B5EF4-FFF2-40B4-BE49-F238E27FC236}">
                  <a16:creationId xmlns:a16="http://schemas.microsoft.com/office/drawing/2014/main" id="{5115B53A-DCDF-4418-8455-1A40E29B9A8C}"/>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4FAC0812-D117-4AFF-B06A-6FB1D83A9551}"/>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50" name="Rectangle 49">
              <a:extLst>
                <a:ext uri="{FF2B5EF4-FFF2-40B4-BE49-F238E27FC236}">
                  <a16:creationId xmlns:a16="http://schemas.microsoft.com/office/drawing/2014/main" id="{4EB2C935-5643-40CC-A8C8-0B949DF74A25}"/>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51" name="Rectangle 50">
              <a:extLst>
                <a:ext uri="{FF2B5EF4-FFF2-40B4-BE49-F238E27FC236}">
                  <a16:creationId xmlns:a16="http://schemas.microsoft.com/office/drawing/2014/main" id="{9EB51C6E-7663-48EB-84F5-532A7AFE3AB3}"/>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52" name="Rectangle 51">
              <a:extLst>
                <a:ext uri="{FF2B5EF4-FFF2-40B4-BE49-F238E27FC236}">
                  <a16:creationId xmlns:a16="http://schemas.microsoft.com/office/drawing/2014/main" id="{4789DD7E-9515-44D6-A649-35AD2725E133}"/>
                </a:ext>
              </a:extLst>
            </p:cNvPr>
            <p:cNvSpPr/>
            <p:nvPr/>
          </p:nvSpPr>
          <p:spPr>
            <a:xfrm>
              <a:off x="1523864" y="1947644"/>
              <a:ext cx="4394758"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E0FAD256-3F81-4117-93A9-5CB6196EF543}"/>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3507116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C45B8-4983-4FFB-BD8B-B2F43686E476}"/>
              </a:ext>
            </a:extLst>
          </p:cNvPr>
          <p:cNvSpPr txBox="1"/>
          <p:nvPr/>
        </p:nvSpPr>
        <p:spPr>
          <a:xfrm flipH="1">
            <a:off x="151646" y="45608"/>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Sports -&gt; Primary Tables</a:t>
            </a:r>
          </a:p>
        </p:txBody>
      </p:sp>
      <p:graphicFrame>
        <p:nvGraphicFramePr>
          <p:cNvPr id="35" name="Table 35">
            <a:extLst>
              <a:ext uri="{FF2B5EF4-FFF2-40B4-BE49-F238E27FC236}">
                <a16:creationId xmlns:a16="http://schemas.microsoft.com/office/drawing/2014/main" id="{8ED9BE5A-E89B-43D7-B6FE-223D219DC8AD}"/>
              </a:ext>
            </a:extLst>
          </p:cNvPr>
          <p:cNvGraphicFramePr>
            <a:graphicFrameLocks noGrp="1"/>
          </p:cNvGraphicFramePr>
          <p:nvPr>
            <p:extLst>
              <p:ext uri="{D42A27DB-BD31-4B8C-83A1-F6EECF244321}">
                <p14:modId xmlns:p14="http://schemas.microsoft.com/office/powerpoint/2010/main" val="1501534945"/>
              </p:ext>
            </p:extLst>
          </p:nvPr>
        </p:nvGraphicFramePr>
        <p:xfrm>
          <a:off x="8065213" y="1609203"/>
          <a:ext cx="3532678" cy="4450080"/>
        </p:xfrm>
        <a:graphic>
          <a:graphicData uri="http://schemas.openxmlformats.org/drawingml/2006/table">
            <a:tbl>
              <a:tblPr firstRow="1" bandRow="1">
                <a:tableStyleId>{B301B821-A1FF-4177-AEE7-76D212191A09}</a:tableStyleId>
              </a:tblPr>
              <a:tblGrid>
                <a:gridCol w="3532678">
                  <a:extLst>
                    <a:ext uri="{9D8B030D-6E8A-4147-A177-3AD203B41FA5}">
                      <a16:colId xmlns:a16="http://schemas.microsoft.com/office/drawing/2014/main" val="832068167"/>
                    </a:ext>
                  </a:extLst>
                </a:gridCol>
              </a:tblGrid>
              <a:tr h="370840">
                <a:tc>
                  <a:txBody>
                    <a:bodyPr/>
                    <a:lstStyle/>
                    <a:p>
                      <a:r>
                        <a:rPr lang="en-US" sz="1400"/>
                        <a:t>Entity Name</a:t>
                      </a:r>
                    </a:p>
                  </a:txBody>
                  <a:tcPr/>
                </a:tc>
                <a:extLst>
                  <a:ext uri="{0D108BD9-81ED-4DB2-BD59-A6C34878D82A}">
                    <a16:rowId xmlns:a16="http://schemas.microsoft.com/office/drawing/2014/main" val="897896226"/>
                  </a:ext>
                </a:extLst>
              </a:tr>
              <a:tr h="370840">
                <a:tc>
                  <a:txBody>
                    <a:bodyPr/>
                    <a:lstStyle/>
                    <a:p>
                      <a:pPr marL="0" algn="l" defTabSz="914400" rtl="0" eaLnBrk="1" latinLnBrk="0" hangingPunct="1"/>
                      <a:r>
                        <a:rPr lang="en-US" sz="1400" kern="1200">
                          <a:solidFill>
                            <a:schemeClr val="tx1"/>
                          </a:solidFill>
                        </a:rPr>
                        <a:t>League</a:t>
                      </a:r>
                      <a:endParaRPr lang="en-US" sz="1400" kern="1200">
                        <a:solidFill>
                          <a:schemeClr val="tx1"/>
                        </a:solidFill>
                        <a:latin typeface="+mn-lt"/>
                        <a:ea typeface="+mn-ea"/>
                        <a:cs typeface="+mn-cs"/>
                      </a:endParaRPr>
                    </a:p>
                  </a:txBody>
                  <a:tcPr/>
                </a:tc>
                <a:extLst>
                  <a:ext uri="{0D108BD9-81ED-4DB2-BD59-A6C34878D82A}">
                    <a16:rowId xmlns:a16="http://schemas.microsoft.com/office/drawing/2014/main" val="3582976416"/>
                  </a:ext>
                </a:extLst>
              </a:tr>
              <a:tr h="370840">
                <a:tc>
                  <a:txBody>
                    <a:bodyPr/>
                    <a:lstStyle/>
                    <a:p>
                      <a:r>
                        <a:rPr lang="en-US" sz="1400"/>
                        <a:t>Playing Field</a:t>
                      </a:r>
                    </a:p>
                  </a:txBody>
                  <a:tcPr/>
                </a:tc>
                <a:extLst>
                  <a:ext uri="{0D108BD9-81ED-4DB2-BD59-A6C34878D82A}">
                    <a16:rowId xmlns:a16="http://schemas.microsoft.com/office/drawing/2014/main" val="1842794880"/>
                  </a:ext>
                </a:extLst>
              </a:tr>
              <a:tr h="370840">
                <a:tc>
                  <a:txBody>
                    <a:bodyPr/>
                    <a:lstStyle/>
                    <a:p>
                      <a:r>
                        <a:rPr lang="en-US" sz="1400"/>
                        <a:t>Playing Field Image</a:t>
                      </a:r>
                    </a:p>
                  </a:txBody>
                  <a:tcPr/>
                </a:tc>
                <a:extLst>
                  <a:ext uri="{0D108BD9-81ED-4DB2-BD59-A6C34878D82A}">
                    <a16:rowId xmlns:a16="http://schemas.microsoft.com/office/drawing/2014/main" val="1872078294"/>
                  </a:ext>
                </a:extLst>
              </a:tr>
              <a:tr h="370840">
                <a:tc>
                  <a:txBody>
                    <a:bodyPr/>
                    <a:lstStyle/>
                    <a:p>
                      <a:r>
                        <a:rPr lang="en-US" sz="1400"/>
                        <a:t>Playing Field Point</a:t>
                      </a:r>
                    </a:p>
                  </a:txBody>
                  <a:tcPr/>
                </a:tc>
                <a:extLst>
                  <a:ext uri="{0D108BD9-81ED-4DB2-BD59-A6C34878D82A}">
                    <a16:rowId xmlns:a16="http://schemas.microsoft.com/office/drawing/2014/main" val="3690877147"/>
                  </a:ext>
                </a:extLst>
              </a:tr>
              <a:tr h="370840">
                <a:tc>
                  <a:txBody>
                    <a:bodyPr/>
                    <a:lstStyle/>
                    <a:p>
                      <a:r>
                        <a:rPr lang="en-US" sz="1400"/>
                        <a:t>Round</a:t>
                      </a:r>
                    </a:p>
                  </a:txBody>
                  <a:tcPr/>
                </a:tc>
                <a:extLst>
                  <a:ext uri="{0D108BD9-81ED-4DB2-BD59-A6C34878D82A}">
                    <a16:rowId xmlns:a16="http://schemas.microsoft.com/office/drawing/2014/main" val="2688782185"/>
                  </a:ext>
                </a:extLst>
              </a:tr>
              <a:tr h="370840">
                <a:tc>
                  <a:txBody>
                    <a:bodyPr/>
                    <a:lstStyle/>
                    <a:p>
                      <a:r>
                        <a:rPr lang="en-US" sz="1400"/>
                        <a:t>Sporting Conference</a:t>
                      </a:r>
                    </a:p>
                  </a:txBody>
                  <a:tcPr/>
                </a:tc>
                <a:extLst>
                  <a:ext uri="{0D108BD9-81ED-4DB2-BD59-A6C34878D82A}">
                    <a16:rowId xmlns:a16="http://schemas.microsoft.com/office/drawing/2014/main" val="970915486"/>
                  </a:ext>
                </a:extLst>
              </a:tr>
              <a:tr h="370840">
                <a:tc>
                  <a:txBody>
                    <a:bodyPr/>
                    <a:lstStyle/>
                    <a:p>
                      <a:r>
                        <a:rPr lang="en-US" sz="1400"/>
                        <a:t>Sporting Division</a:t>
                      </a:r>
                    </a:p>
                  </a:txBody>
                  <a:tcPr/>
                </a:tc>
                <a:extLst>
                  <a:ext uri="{0D108BD9-81ED-4DB2-BD59-A6C34878D82A}">
                    <a16:rowId xmlns:a16="http://schemas.microsoft.com/office/drawing/2014/main" val="4079358696"/>
                  </a:ext>
                </a:extLst>
              </a:tr>
              <a:tr h="370840">
                <a:tc>
                  <a:txBody>
                    <a:bodyPr/>
                    <a:lstStyle/>
                    <a:p>
                      <a:r>
                        <a:rPr lang="en-US" sz="1400"/>
                        <a:t>Sports Player</a:t>
                      </a:r>
                    </a:p>
                  </a:txBody>
                  <a:tcPr/>
                </a:tc>
                <a:extLst>
                  <a:ext uri="{0D108BD9-81ED-4DB2-BD59-A6C34878D82A}">
                    <a16:rowId xmlns:a16="http://schemas.microsoft.com/office/drawing/2014/main" val="2001159316"/>
                  </a:ext>
                </a:extLst>
              </a:tr>
              <a:tr h="370840">
                <a:tc>
                  <a:txBody>
                    <a:bodyPr/>
                    <a:lstStyle/>
                    <a:p>
                      <a:r>
                        <a:rPr lang="en-US" sz="1400"/>
                        <a:t>Sports Player Image</a:t>
                      </a:r>
                    </a:p>
                  </a:txBody>
                  <a:tcPr/>
                </a:tc>
                <a:extLst>
                  <a:ext uri="{0D108BD9-81ED-4DB2-BD59-A6C34878D82A}">
                    <a16:rowId xmlns:a16="http://schemas.microsoft.com/office/drawing/2014/main" val="1022263111"/>
                  </a:ext>
                </a:extLst>
              </a:tr>
              <a:tr h="370840">
                <a:tc>
                  <a:txBody>
                    <a:bodyPr/>
                    <a:lstStyle/>
                    <a:p>
                      <a:r>
                        <a:rPr lang="en-US" sz="1400"/>
                        <a:t>Sports Player Team History</a:t>
                      </a:r>
                    </a:p>
                  </a:txBody>
                  <a:tcPr/>
                </a:tc>
                <a:extLst>
                  <a:ext uri="{0D108BD9-81ED-4DB2-BD59-A6C34878D82A}">
                    <a16:rowId xmlns:a16="http://schemas.microsoft.com/office/drawing/2014/main" val="2813914646"/>
                  </a:ext>
                </a:extLst>
              </a:tr>
              <a:tr h="370840">
                <a:tc>
                  <a:txBody>
                    <a:bodyPr/>
                    <a:lstStyle/>
                    <a:p>
                      <a:r>
                        <a:rPr lang="en-US" sz="1400"/>
                        <a:t>Sports Team</a:t>
                      </a:r>
                    </a:p>
                  </a:txBody>
                  <a:tcPr/>
                </a:tc>
                <a:extLst>
                  <a:ext uri="{0D108BD9-81ED-4DB2-BD59-A6C34878D82A}">
                    <a16:rowId xmlns:a16="http://schemas.microsoft.com/office/drawing/2014/main" val="2119518049"/>
                  </a:ext>
                </a:extLst>
              </a:tr>
            </a:tbl>
          </a:graphicData>
        </a:graphic>
      </p:graphicFrame>
      <p:sp>
        <p:nvSpPr>
          <p:cNvPr id="37" name="Arrow: Right 36">
            <a:extLst>
              <a:ext uri="{FF2B5EF4-FFF2-40B4-BE49-F238E27FC236}">
                <a16:creationId xmlns:a16="http://schemas.microsoft.com/office/drawing/2014/main" id="{C1B9BF59-FD78-4598-AEEA-8D4C555B37D4}"/>
              </a:ext>
            </a:extLst>
          </p:cNvPr>
          <p:cNvSpPr/>
          <p:nvPr/>
        </p:nvSpPr>
        <p:spPr>
          <a:xfrm>
            <a:off x="6916022" y="3546594"/>
            <a:ext cx="937456" cy="590601"/>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55AC6EFC-9520-4E62-99DA-EFD542C0B894}"/>
              </a:ext>
            </a:extLst>
          </p:cNvPr>
          <p:cNvGrpSpPr/>
          <p:nvPr/>
        </p:nvGrpSpPr>
        <p:grpSpPr>
          <a:xfrm>
            <a:off x="205484" y="1160981"/>
            <a:ext cx="6503541"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22" name="Ink 21">
                  <a:extLst>
                    <a:ext uri="{FF2B5EF4-FFF2-40B4-BE49-F238E27FC236}">
                      <a16:creationId xmlns:a16="http://schemas.microsoft.com/office/drawing/2014/main" id="{E4856092-6298-4B77-95C6-8E9A1320F49E}"/>
                    </a:ext>
                  </a:extLst>
                </p14:cNvPr>
                <p14:cNvContentPartPr/>
                <p14:nvPr/>
              </p14:nvContentPartPr>
              <p14:xfrm>
                <a:off x="8545730" y="2096877"/>
                <a:ext cx="5040" cy="12637"/>
              </p14:xfrm>
            </p:contentPart>
          </mc:Choice>
          <mc:Fallback>
            <p:pic>
              <p:nvPicPr>
                <p:cNvPr id="22" name="Ink 21">
                  <a:extLst>
                    <a:ext uri="{FF2B5EF4-FFF2-40B4-BE49-F238E27FC236}">
                      <a16:creationId xmlns:a16="http://schemas.microsoft.com/office/drawing/2014/main" id="{E4856092-6298-4B77-95C6-8E9A1320F49E}"/>
                    </a:ext>
                  </a:extLst>
                </p:cNvPr>
                <p:cNvPicPr/>
                <p:nvPr/>
              </p:nvPicPr>
              <p:blipFill>
                <a:blip r:embed="rId3"/>
                <a:stretch>
                  <a:fillRect/>
                </a:stretch>
              </p:blipFill>
              <p:spPr>
                <a:xfrm>
                  <a:off x="8533130" y="2090009"/>
                  <a:ext cx="29736" cy="26098"/>
                </a:xfrm>
                <a:prstGeom prst="rect">
                  <a:avLst/>
                </a:prstGeom>
              </p:spPr>
            </p:pic>
          </mc:Fallback>
        </mc:AlternateContent>
        <p:sp>
          <p:nvSpPr>
            <p:cNvPr id="23" name="Rectangle 22">
              <a:extLst>
                <a:ext uri="{FF2B5EF4-FFF2-40B4-BE49-F238E27FC236}">
                  <a16:creationId xmlns:a16="http://schemas.microsoft.com/office/drawing/2014/main" id="{82F4A1D3-872C-496B-96E8-A48934B73419}"/>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24" name="Rectangle 23">
              <a:extLst>
                <a:ext uri="{FF2B5EF4-FFF2-40B4-BE49-F238E27FC236}">
                  <a16:creationId xmlns:a16="http://schemas.microsoft.com/office/drawing/2014/main" id="{B5D66C57-F750-4132-A752-9C99B1060517}"/>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25" name="Rectangle 24">
              <a:extLst>
                <a:ext uri="{FF2B5EF4-FFF2-40B4-BE49-F238E27FC236}">
                  <a16:creationId xmlns:a16="http://schemas.microsoft.com/office/drawing/2014/main" id="{CE1B8855-08A0-4359-B5C4-117EE6847E7F}"/>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26" name="Rectangle 25">
              <a:extLst>
                <a:ext uri="{FF2B5EF4-FFF2-40B4-BE49-F238E27FC236}">
                  <a16:creationId xmlns:a16="http://schemas.microsoft.com/office/drawing/2014/main" id="{D1367C05-66A4-44A1-A4E1-2D2E7F6C1B77}"/>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27" name="Rectangle 26">
              <a:extLst>
                <a:ext uri="{FF2B5EF4-FFF2-40B4-BE49-F238E27FC236}">
                  <a16:creationId xmlns:a16="http://schemas.microsoft.com/office/drawing/2014/main" id="{B6F593C3-4637-4438-AAE3-F62637B491B1}"/>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28" name="Rectangle 27">
              <a:extLst>
                <a:ext uri="{FF2B5EF4-FFF2-40B4-BE49-F238E27FC236}">
                  <a16:creationId xmlns:a16="http://schemas.microsoft.com/office/drawing/2014/main" id="{E49E772F-7818-4006-B39C-77D1DFF44B41}"/>
                </a:ext>
              </a:extLst>
            </p:cNvPr>
            <p:cNvSpPr/>
            <p:nvPr/>
          </p:nvSpPr>
          <p:spPr>
            <a:xfrm>
              <a:off x="1530529" y="3772634"/>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Sports</a:t>
              </a:r>
            </a:p>
          </p:txBody>
        </p:sp>
        <p:sp>
          <p:nvSpPr>
            <p:cNvPr id="29" name="Rectangle 28">
              <a:extLst>
                <a:ext uri="{FF2B5EF4-FFF2-40B4-BE49-F238E27FC236}">
                  <a16:creationId xmlns:a16="http://schemas.microsoft.com/office/drawing/2014/main" id="{F22A55DF-105C-4A50-83B6-598CA1B9BC86}"/>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F7B7EF1D-CDBA-4B7E-90B1-75F92D4E90BE}"/>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31" name="Rectangle 30">
              <a:extLst>
                <a:ext uri="{FF2B5EF4-FFF2-40B4-BE49-F238E27FC236}">
                  <a16:creationId xmlns:a16="http://schemas.microsoft.com/office/drawing/2014/main" id="{E3DAD699-9BD1-44AB-B745-F646378E1579}"/>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CF5876DC-D0A8-4461-AFE7-48AE96A0DCDE}"/>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3" name="Rectangle 32">
              <a:extLst>
                <a:ext uri="{FF2B5EF4-FFF2-40B4-BE49-F238E27FC236}">
                  <a16:creationId xmlns:a16="http://schemas.microsoft.com/office/drawing/2014/main" id="{5E465220-8220-4C3F-ADB6-4217E7036630}"/>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52" name="Rectangle 51">
              <a:extLst>
                <a:ext uri="{FF2B5EF4-FFF2-40B4-BE49-F238E27FC236}">
                  <a16:creationId xmlns:a16="http://schemas.microsoft.com/office/drawing/2014/main" id="{8BD00C95-1C74-4C7C-A066-6425B4C81FF1}"/>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53" name="Rectangle 52">
              <a:extLst>
                <a:ext uri="{FF2B5EF4-FFF2-40B4-BE49-F238E27FC236}">
                  <a16:creationId xmlns:a16="http://schemas.microsoft.com/office/drawing/2014/main" id="{687602BA-8E81-4BA1-B114-421945127CE9}"/>
                </a:ext>
              </a:extLst>
            </p:cNvPr>
            <p:cNvSpPr/>
            <p:nvPr/>
          </p:nvSpPr>
          <p:spPr>
            <a:xfrm>
              <a:off x="1523864" y="1947644"/>
              <a:ext cx="4394758"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43CB3B6B-C529-400E-9B70-D8CC09C3B0FD}"/>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1955426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C45B8-4983-4FFB-BD8B-B2F43686E476}"/>
              </a:ext>
            </a:extLst>
          </p:cNvPr>
          <p:cNvSpPr txBox="1"/>
          <p:nvPr/>
        </p:nvSpPr>
        <p:spPr>
          <a:xfrm flipH="1">
            <a:off x="233162" y="51198"/>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Sports -&gt; Enriched Tables</a:t>
            </a:r>
          </a:p>
        </p:txBody>
      </p:sp>
      <p:graphicFrame>
        <p:nvGraphicFramePr>
          <p:cNvPr id="35" name="Table 35">
            <a:extLst>
              <a:ext uri="{FF2B5EF4-FFF2-40B4-BE49-F238E27FC236}">
                <a16:creationId xmlns:a16="http://schemas.microsoft.com/office/drawing/2014/main" id="{8ED9BE5A-E89B-43D7-B6FE-223D219DC8AD}"/>
              </a:ext>
            </a:extLst>
          </p:cNvPr>
          <p:cNvGraphicFramePr>
            <a:graphicFrameLocks noGrp="1"/>
          </p:cNvGraphicFramePr>
          <p:nvPr>
            <p:extLst>
              <p:ext uri="{D42A27DB-BD31-4B8C-83A1-F6EECF244321}">
                <p14:modId xmlns:p14="http://schemas.microsoft.com/office/powerpoint/2010/main" val="6454772"/>
              </p:ext>
            </p:extLst>
          </p:nvPr>
        </p:nvGraphicFramePr>
        <p:xfrm>
          <a:off x="7849456" y="2531372"/>
          <a:ext cx="4167053" cy="3048000"/>
        </p:xfrm>
        <a:graphic>
          <a:graphicData uri="http://schemas.openxmlformats.org/drawingml/2006/table">
            <a:tbl>
              <a:tblPr firstRow="1" bandRow="1">
                <a:tableStyleId>{B301B821-A1FF-4177-AEE7-76D212191A09}</a:tableStyleId>
              </a:tblPr>
              <a:tblGrid>
                <a:gridCol w="1944395">
                  <a:extLst>
                    <a:ext uri="{9D8B030D-6E8A-4147-A177-3AD203B41FA5}">
                      <a16:colId xmlns:a16="http://schemas.microsoft.com/office/drawing/2014/main" val="832068167"/>
                    </a:ext>
                  </a:extLst>
                </a:gridCol>
                <a:gridCol w="2222658">
                  <a:extLst>
                    <a:ext uri="{9D8B030D-6E8A-4147-A177-3AD203B41FA5}">
                      <a16:colId xmlns:a16="http://schemas.microsoft.com/office/drawing/2014/main" val="3735634954"/>
                    </a:ext>
                  </a:extLst>
                </a:gridCol>
              </a:tblGrid>
              <a:tr h="0">
                <a:tc>
                  <a:txBody>
                    <a:bodyPr/>
                    <a:lstStyle/>
                    <a:p>
                      <a:r>
                        <a:rPr lang="en-US" sz="1400"/>
                        <a:t>Entity Name</a:t>
                      </a:r>
                    </a:p>
                  </a:txBody>
                  <a:tcPr/>
                </a:tc>
                <a:tc>
                  <a:txBody>
                    <a:bodyPr/>
                    <a:lstStyle/>
                    <a:p>
                      <a:r>
                        <a:rPr lang="en-US" sz="1400"/>
                        <a:t>Source</a:t>
                      </a:r>
                    </a:p>
                  </a:txBody>
                  <a:tcPr/>
                </a:tc>
                <a:extLst>
                  <a:ext uri="{0D108BD9-81ED-4DB2-BD59-A6C34878D82A}">
                    <a16:rowId xmlns:a16="http://schemas.microsoft.com/office/drawing/2014/main" val="897896226"/>
                  </a:ext>
                </a:extLst>
              </a:tr>
              <a:tr h="370840">
                <a:tc>
                  <a:txBody>
                    <a:bodyPr/>
                    <a:lstStyle/>
                    <a:p>
                      <a:r>
                        <a:rPr lang="en-US" sz="1400"/>
                        <a:t>Account</a:t>
                      </a:r>
                    </a:p>
                  </a:txBody>
                  <a:tcPr/>
                </a:tc>
                <a:tc>
                  <a:txBody>
                    <a:bodyPr/>
                    <a:lstStyle/>
                    <a:p>
                      <a:r>
                        <a:rPr lang="en-US" sz="1400"/>
                        <a:t>CDM Common</a:t>
                      </a:r>
                    </a:p>
                  </a:txBody>
                  <a:tcPr/>
                </a:tc>
                <a:extLst>
                  <a:ext uri="{0D108BD9-81ED-4DB2-BD59-A6C34878D82A}">
                    <a16:rowId xmlns:a16="http://schemas.microsoft.com/office/drawing/2014/main" val="1947896416"/>
                  </a:ext>
                </a:extLst>
              </a:tr>
              <a:tr h="370840">
                <a:tc>
                  <a:txBody>
                    <a:bodyPr/>
                    <a:lstStyle/>
                    <a:p>
                      <a:r>
                        <a:rPr lang="en-US" sz="1400"/>
                        <a:t>Event Schedule</a:t>
                      </a:r>
                    </a:p>
                  </a:txBody>
                  <a:tcPr/>
                </a:tc>
                <a:tc>
                  <a:txBody>
                    <a:bodyPr/>
                    <a:lstStyle/>
                    <a:p>
                      <a:r>
                        <a:rPr lang="en-US" sz="1400"/>
                        <a:t>Media Events &amp; Venues</a:t>
                      </a:r>
                    </a:p>
                  </a:txBody>
                  <a:tcPr/>
                </a:tc>
                <a:extLst>
                  <a:ext uri="{0D108BD9-81ED-4DB2-BD59-A6C34878D82A}">
                    <a16:rowId xmlns:a16="http://schemas.microsoft.com/office/drawing/2014/main" val="410683920"/>
                  </a:ext>
                </a:extLst>
              </a:tr>
              <a:tr h="370840">
                <a:tc>
                  <a:txBody>
                    <a:bodyPr/>
                    <a:lstStyle/>
                    <a:p>
                      <a:r>
                        <a:rPr lang="en-US" sz="1400"/>
                        <a:t>Guest</a:t>
                      </a:r>
                    </a:p>
                  </a:txBody>
                  <a:tcPr/>
                </a:tc>
                <a:tc>
                  <a:txBody>
                    <a:bodyPr/>
                    <a:lstStyle/>
                    <a:p>
                      <a:r>
                        <a:rPr lang="en-US" sz="1400"/>
                        <a:t>Media Common</a:t>
                      </a:r>
                    </a:p>
                  </a:txBody>
                  <a:tcPr/>
                </a:tc>
                <a:extLst>
                  <a:ext uri="{0D108BD9-81ED-4DB2-BD59-A6C34878D82A}">
                    <a16:rowId xmlns:a16="http://schemas.microsoft.com/office/drawing/2014/main" val="2350917752"/>
                  </a:ext>
                </a:extLst>
              </a:tr>
              <a:tr h="370840">
                <a:tc>
                  <a:txBody>
                    <a:bodyPr/>
                    <a:lstStyle/>
                    <a:p>
                      <a:r>
                        <a:rPr lang="en-US" sz="1400"/>
                        <a:t>Media Event</a:t>
                      </a:r>
                    </a:p>
                  </a:txBody>
                  <a:tcPr/>
                </a:tc>
                <a:tc>
                  <a:txBody>
                    <a:bodyPr/>
                    <a:lstStyle/>
                    <a:p>
                      <a:r>
                        <a:rPr lang="en-US" sz="1400"/>
                        <a:t>Media Events &amp; Venues</a:t>
                      </a:r>
                    </a:p>
                  </a:txBody>
                  <a:tcPr/>
                </a:tc>
                <a:extLst>
                  <a:ext uri="{0D108BD9-81ED-4DB2-BD59-A6C34878D82A}">
                    <a16:rowId xmlns:a16="http://schemas.microsoft.com/office/drawing/2014/main" val="889496376"/>
                  </a:ext>
                </a:extLst>
              </a:tr>
              <a:tr h="370840">
                <a:tc>
                  <a:txBody>
                    <a:bodyPr/>
                    <a:lstStyle/>
                    <a:p>
                      <a:r>
                        <a:rPr lang="en-US" sz="1400"/>
                        <a:t>Media Registration</a:t>
                      </a:r>
                    </a:p>
                  </a:txBody>
                  <a:tcPr/>
                </a:tc>
                <a:tc>
                  <a:txBody>
                    <a:bodyPr/>
                    <a:lstStyle/>
                    <a:p>
                      <a:r>
                        <a:rPr lang="en-US" sz="1400"/>
                        <a:t>Media Events &amp; Venues</a:t>
                      </a:r>
                    </a:p>
                  </a:txBody>
                  <a:tcPr/>
                </a:tc>
                <a:extLst>
                  <a:ext uri="{0D108BD9-81ED-4DB2-BD59-A6C34878D82A}">
                    <a16:rowId xmlns:a16="http://schemas.microsoft.com/office/drawing/2014/main" val="3795662490"/>
                  </a:ext>
                </a:extLst>
              </a:tr>
              <a:tr h="370840">
                <a:tc>
                  <a:txBody>
                    <a:bodyPr/>
                    <a:lstStyle/>
                    <a:p>
                      <a:r>
                        <a:rPr lang="en-US" sz="1400"/>
                        <a:t>Media Registration Status Log</a:t>
                      </a:r>
                    </a:p>
                  </a:txBody>
                  <a:tcPr/>
                </a:tc>
                <a:tc>
                  <a:txBody>
                    <a:bodyPr/>
                    <a:lstStyle/>
                    <a:p>
                      <a:r>
                        <a:rPr lang="en-US" sz="1400"/>
                        <a:t>Media Events &amp; Venues</a:t>
                      </a:r>
                    </a:p>
                  </a:txBody>
                  <a:tcPr/>
                </a:tc>
                <a:extLst>
                  <a:ext uri="{0D108BD9-81ED-4DB2-BD59-A6C34878D82A}">
                    <a16:rowId xmlns:a16="http://schemas.microsoft.com/office/drawing/2014/main" val="1876875393"/>
                  </a:ext>
                </a:extLst>
              </a:tr>
              <a:tr h="370840">
                <a:tc>
                  <a:txBody>
                    <a:bodyPr/>
                    <a:lstStyle/>
                    <a:p>
                      <a:r>
                        <a:rPr lang="en-US" sz="1400"/>
                        <a:t>Weather Condition</a:t>
                      </a:r>
                    </a:p>
                  </a:txBody>
                  <a:tcPr/>
                </a:tc>
                <a:tc>
                  <a:txBody>
                    <a:bodyPr/>
                    <a:lstStyle/>
                    <a:p>
                      <a:r>
                        <a:rPr lang="en-US" sz="1400"/>
                        <a:t>Media Events &amp; Venues</a:t>
                      </a:r>
                    </a:p>
                  </a:txBody>
                  <a:tcPr/>
                </a:tc>
                <a:extLst>
                  <a:ext uri="{0D108BD9-81ED-4DB2-BD59-A6C34878D82A}">
                    <a16:rowId xmlns:a16="http://schemas.microsoft.com/office/drawing/2014/main" val="896510625"/>
                  </a:ext>
                </a:extLst>
              </a:tr>
            </a:tbl>
          </a:graphicData>
        </a:graphic>
      </p:graphicFrame>
      <p:sp>
        <p:nvSpPr>
          <p:cNvPr id="37" name="Arrow: Right 36">
            <a:extLst>
              <a:ext uri="{FF2B5EF4-FFF2-40B4-BE49-F238E27FC236}">
                <a16:creationId xmlns:a16="http://schemas.microsoft.com/office/drawing/2014/main" id="{C1B9BF59-FD78-4598-AEEA-8D4C555B37D4}"/>
              </a:ext>
            </a:extLst>
          </p:cNvPr>
          <p:cNvSpPr/>
          <p:nvPr/>
        </p:nvSpPr>
        <p:spPr>
          <a:xfrm>
            <a:off x="6863137" y="3590803"/>
            <a:ext cx="821933" cy="546392"/>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7CDB3093-07EE-4354-B669-C27F080AF966}"/>
              </a:ext>
            </a:extLst>
          </p:cNvPr>
          <p:cNvGrpSpPr/>
          <p:nvPr/>
        </p:nvGrpSpPr>
        <p:grpSpPr>
          <a:xfrm>
            <a:off x="205484" y="1160981"/>
            <a:ext cx="6503541"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22" name="Ink 21">
                  <a:extLst>
                    <a:ext uri="{FF2B5EF4-FFF2-40B4-BE49-F238E27FC236}">
                      <a16:creationId xmlns:a16="http://schemas.microsoft.com/office/drawing/2014/main" id="{CA1F1AF4-8AFF-439E-9C54-CAF6AAE5F2A2}"/>
                    </a:ext>
                  </a:extLst>
                </p14:cNvPr>
                <p14:cNvContentPartPr/>
                <p14:nvPr/>
              </p14:nvContentPartPr>
              <p14:xfrm>
                <a:off x="8545730" y="2096877"/>
                <a:ext cx="5040" cy="12637"/>
              </p14:xfrm>
            </p:contentPart>
          </mc:Choice>
          <mc:Fallback>
            <p:pic>
              <p:nvPicPr>
                <p:cNvPr id="22" name="Ink 21">
                  <a:extLst>
                    <a:ext uri="{FF2B5EF4-FFF2-40B4-BE49-F238E27FC236}">
                      <a16:creationId xmlns:a16="http://schemas.microsoft.com/office/drawing/2014/main" id="{CA1F1AF4-8AFF-439E-9C54-CAF6AAE5F2A2}"/>
                    </a:ext>
                  </a:extLst>
                </p:cNvPr>
                <p:cNvPicPr/>
                <p:nvPr/>
              </p:nvPicPr>
              <p:blipFill>
                <a:blip r:embed="rId3"/>
                <a:stretch>
                  <a:fillRect/>
                </a:stretch>
              </p:blipFill>
              <p:spPr>
                <a:xfrm>
                  <a:off x="8533130" y="2090009"/>
                  <a:ext cx="29736" cy="26098"/>
                </a:xfrm>
                <a:prstGeom prst="rect">
                  <a:avLst/>
                </a:prstGeom>
              </p:spPr>
            </p:pic>
          </mc:Fallback>
        </mc:AlternateContent>
        <p:sp>
          <p:nvSpPr>
            <p:cNvPr id="23" name="Rectangle 22">
              <a:extLst>
                <a:ext uri="{FF2B5EF4-FFF2-40B4-BE49-F238E27FC236}">
                  <a16:creationId xmlns:a16="http://schemas.microsoft.com/office/drawing/2014/main" id="{B9861D18-C92E-4823-B42A-D74942041C7F}"/>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24" name="Rectangle 23">
              <a:extLst>
                <a:ext uri="{FF2B5EF4-FFF2-40B4-BE49-F238E27FC236}">
                  <a16:creationId xmlns:a16="http://schemas.microsoft.com/office/drawing/2014/main" id="{28781D08-FCE0-4313-B47F-39A0962FAAA2}"/>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25" name="Rectangle 24">
              <a:extLst>
                <a:ext uri="{FF2B5EF4-FFF2-40B4-BE49-F238E27FC236}">
                  <a16:creationId xmlns:a16="http://schemas.microsoft.com/office/drawing/2014/main" id="{209896A8-948C-46D4-831E-2EA4BFC98A77}"/>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26" name="Rectangle 25">
              <a:extLst>
                <a:ext uri="{FF2B5EF4-FFF2-40B4-BE49-F238E27FC236}">
                  <a16:creationId xmlns:a16="http://schemas.microsoft.com/office/drawing/2014/main" id="{F2863E65-D1F8-4283-8873-ACCEDC28E33B}"/>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27" name="Rectangle 26">
              <a:extLst>
                <a:ext uri="{FF2B5EF4-FFF2-40B4-BE49-F238E27FC236}">
                  <a16:creationId xmlns:a16="http://schemas.microsoft.com/office/drawing/2014/main" id="{F05ADD64-90B7-4E83-9A45-0E7E11CD025F}"/>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28" name="Rectangle 27">
              <a:extLst>
                <a:ext uri="{FF2B5EF4-FFF2-40B4-BE49-F238E27FC236}">
                  <a16:creationId xmlns:a16="http://schemas.microsoft.com/office/drawing/2014/main" id="{C859A6B6-2DC5-4A04-94EB-8E4F4B4728CC}"/>
                </a:ext>
              </a:extLst>
            </p:cNvPr>
            <p:cNvSpPr/>
            <p:nvPr/>
          </p:nvSpPr>
          <p:spPr>
            <a:xfrm>
              <a:off x="1530529" y="3772634"/>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Sports</a:t>
              </a:r>
            </a:p>
          </p:txBody>
        </p:sp>
        <p:sp>
          <p:nvSpPr>
            <p:cNvPr id="29" name="Rectangle 28">
              <a:extLst>
                <a:ext uri="{FF2B5EF4-FFF2-40B4-BE49-F238E27FC236}">
                  <a16:creationId xmlns:a16="http://schemas.microsoft.com/office/drawing/2014/main" id="{256FD789-8149-4618-BE36-697187CDAB67}"/>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EF12ED59-4DEE-4A73-8B3E-90215BFF87AE}"/>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31" name="Rectangle 30">
              <a:extLst>
                <a:ext uri="{FF2B5EF4-FFF2-40B4-BE49-F238E27FC236}">
                  <a16:creationId xmlns:a16="http://schemas.microsoft.com/office/drawing/2014/main" id="{75CC84C5-BE19-4D69-9786-6B6168E0DE55}"/>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4FA73217-A8E5-4691-B7E6-E759E639E8BD}"/>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3" name="Rectangle 32">
              <a:extLst>
                <a:ext uri="{FF2B5EF4-FFF2-40B4-BE49-F238E27FC236}">
                  <a16:creationId xmlns:a16="http://schemas.microsoft.com/office/drawing/2014/main" id="{9708A28D-A9F0-483C-B0AF-E9DDACE0A5DA}"/>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34" name="Rectangle 33">
              <a:extLst>
                <a:ext uri="{FF2B5EF4-FFF2-40B4-BE49-F238E27FC236}">
                  <a16:creationId xmlns:a16="http://schemas.microsoft.com/office/drawing/2014/main" id="{9C9DA7D3-F5E8-4661-8F7C-BC2CBBB47F1B}"/>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53" name="Rectangle 52">
              <a:extLst>
                <a:ext uri="{FF2B5EF4-FFF2-40B4-BE49-F238E27FC236}">
                  <a16:creationId xmlns:a16="http://schemas.microsoft.com/office/drawing/2014/main" id="{F300807F-25A9-45AD-BCD1-E2F7C01831FF}"/>
                </a:ext>
              </a:extLst>
            </p:cNvPr>
            <p:cNvSpPr/>
            <p:nvPr/>
          </p:nvSpPr>
          <p:spPr>
            <a:xfrm>
              <a:off x="1523864" y="1947644"/>
              <a:ext cx="4394758"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5DD8A2CF-685F-4744-A0D3-E90F79AC4872}"/>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40595973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C45B8-4983-4FFB-BD8B-B2F43686E476}"/>
              </a:ext>
            </a:extLst>
          </p:cNvPr>
          <p:cNvSpPr txBox="1"/>
          <p:nvPr/>
        </p:nvSpPr>
        <p:spPr>
          <a:xfrm flipH="1">
            <a:off x="84009" y="93328"/>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Event Product Sales -&gt; Primary Tables</a:t>
            </a:r>
          </a:p>
        </p:txBody>
      </p:sp>
      <p:graphicFrame>
        <p:nvGraphicFramePr>
          <p:cNvPr id="35" name="Table 35">
            <a:extLst>
              <a:ext uri="{FF2B5EF4-FFF2-40B4-BE49-F238E27FC236}">
                <a16:creationId xmlns:a16="http://schemas.microsoft.com/office/drawing/2014/main" id="{8ED9BE5A-E89B-43D7-B6FE-223D219DC8AD}"/>
              </a:ext>
            </a:extLst>
          </p:cNvPr>
          <p:cNvGraphicFramePr>
            <a:graphicFrameLocks noGrp="1"/>
          </p:cNvGraphicFramePr>
          <p:nvPr>
            <p:extLst>
              <p:ext uri="{D42A27DB-BD31-4B8C-83A1-F6EECF244321}">
                <p14:modId xmlns:p14="http://schemas.microsoft.com/office/powerpoint/2010/main" val="2120973180"/>
              </p:ext>
            </p:extLst>
          </p:nvPr>
        </p:nvGraphicFramePr>
        <p:xfrm>
          <a:off x="8106309" y="1293092"/>
          <a:ext cx="3491581" cy="5113264"/>
        </p:xfrm>
        <a:graphic>
          <a:graphicData uri="http://schemas.openxmlformats.org/drawingml/2006/table">
            <a:tbl>
              <a:tblPr firstRow="1" bandRow="1">
                <a:tableStyleId>{B301B821-A1FF-4177-AEE7-76D212191A09}</a:tableStyleId>
              </a:tblPr>
              <a:tblGrid>
                <a:gridCol w="3491581">
                  <a:extLst>
                    <a:ext uri="{9D8B030D-6E8A-4147-A177-3AD203B41FA5}">
                      <a16:colId xmlns:a16="http://schemas.microsoft.com/office/drawing/2014/main" val="832068167"/>
                    </a:ext>
                  </a:extLst>
                </a:gridCol>
              </a:tblGrid>
              <a:tr h="319579">
                <a:tc>
                  <a:txBody>
                    <a:bodyPr/>
                    <a:lstStyle/>
                    <a:p>
                      <a:r>
                        <a:rPr lang="en-US" sz="1400"/>
                        <a:t>Entity Name</a:t>
                      </a:r>
                    </a:p>
                  </a:txBody>
                  <a:tcPr/>
                </a:tc>
                <a:extLst>
                  <a:ext uri="{0D108BD9-81ED-4DB2-BD59-A6C34878D82A}">
                    <a16:rowId xmlns:a16="http://schemas.microsoft.com/office/drawing/2014/main" val="897896226"/>
                  </a:ext>
                </a:extLst>
              </a:tr>
              <a:tr h="319579">
                <a:tc>
                  <a:txBody>
                    <a:bodyPr/>
                    <a:lstStyle/>
                    <a:p>
                      <a:r>
                        <a:rPr lang="en-US" sz="1400"/>
                        <a:t>Admission</a:t>
                      </a:r>
                    </a:p>
                  </a:txBody>
                  <a:tcPr/>
                </a:tc>
                <a:extLst>
                  <a:ext uri="{0D108BD9-81ED-4DB2-BD59-A6C34878D82A}">
                    <a16:rowId xmlns:a16="http://schemas.microsoft.com/office/drawing/2014/main" val="3582976416"/>
                  </a:ext>
                </a:extLst>
              </a:tr>
              <a:tr h="319579">
                <a:tc>
                  <a:txBody>
                    <a:bodyPr/>
                    <a:lstStyle/>
                    <a:p>
                      <a:r>
                        <a:rPr lang="en-US" sz="1400"/>
                        <a:t>Advertising Segment</a:t>
                      </a:r>
                    </a:p>
                  </a:txBody>
                  <a:tcPr/>
                </a:tc>
                <a:extLst>
                  <a:ext uri="{0D108BD9-81ED-4DB2-BD59-A6C34878D82A}">
                    <a16:rowId xmlns:a16="http://schemas.microsoft.com/office/drawing/2014/main" val="1842794880"/>
                  </a:ext>
                </a:extLst>
              </a:tr>
              <a:tr h="319579">
                <a:tc>
                  <a:txBody>
                    <a:bodyPr/>
                    <a:lstStyle/>
                    <a:p>
                      <a:r>
                        <a:rPr lang="en-US" sz="1400"/>
                        <a:t>Advertising Segment Group</a:t>
                      </a:r>
                    </a:p>
                  </a:txBody>
                  <a:tcPr/>
                </a:tc>
                <a:extLst>
                  <a:ext uri="{0D108BD9-81ED-4DB2-BD59-A6C34878D82A}">
                    <a16:rowId xmlns:a16="http://schemas.microsoft.com/office/drawing/2014/main" val="1872078294"/>
                  </a:ext>
                </a:extLst>
              </a:tr>
              <a:tr h="319579">
                <a:tc>
                  <a:txBody>
                    <a:bodyPr/>
                    <a:lstStyle/>
                    <a:p>
                      <a:r>
                        <a:rPr lang="en-US" sz="1400"/>
                        <a:t>Advertising Spot Fulfillment</a:t>
                      </a:r>
                    </a:p>
                  </a:txBody>
                  <a:tcPr/>
                </a:tc>
                <a:extLst>
                  <a:ext uri="{0D108BD9-81ED-4DB2-BD59-A6C34878D82A}">
                    <a16:rowId xmlns:a16="http://schemas.microsoft.com/office/drawing/2014/main" val="3690877147"/>
                  </a:ext>
                </a:extLst>
              </a:tr>
              <a:tr h="319579">
                <a:tc>
                  <a:txBody>
                    <a:bodyPr/>
                    <a:lstStyle/>
                    <a:p>
                      <a:r>
                        <a:rPr lang="en-US" sz="1400"/>
                        <a:t>Media Event Sponsorship</a:t>
                      </a:r>
                    </a:p>
                  </a:txBody>
                  <a:tcPr/>
                </a:tc>
                <a:extLst>
                  <a:ext uri="{0D108BD9-81ED-4DB2-BD59-A6C34878D82A}">
                    <a16:rowId xmlns:a16="http://schemas.microsoft.com/office/drawing/2014/main" val="4079358696"/>
                  </a:ext>
                </a:extLst>
              </a:tr>
              <a:tr h="319579">
                <a:tc>
                  <a:txBody>
                    <a:bodyPr/>
                    <a:lstStyle/>
                    <a:p>
                      <a:r>
                        <a:rPr lang="en-US" sz="1400"/>
                        <a:t>Media Venue Advertising Zone</a:t>
                      </a:r>
                    </a:p>
                  </a:txBody>
                  <a:tcPr/>
                </a:tc>
                <a:extLst>
                  <a:ext uri="{0D108BD9-81ED-4DB2-BD59-A6C34878D82A}">
                    <a16:rowId xmlns:a16="http://schemas.microsoft.com/office/drawing/2014/main" val="2001159316"/>
                  </a:ext>
                </a:extLst>
              </a:tr>
              <a:tr h="319579">
                <a:tc>
                  <a:txBody>
                    <a:bodyPr/>
                    <a:lstStyle/>
                    <a:p>
                      <a:r>
                        <a:rPr lang="en-US" sz="1400"/>
                        <a:t>Media Venue Seat Map</a:t>
                      </a:r>
                    </a:p>
                  </a:txBody>
                  <a:tcPr/>
                </a:tc>
                <a:extLst>
                  <a:ext uri="{0D108BD9-81ED-4DB2-BD59-A6C34878D82A}">
                    <a16:rowId xmlns:a16="http://schemas.microsoft.com/office/drawing/2014/main" val="1022263111"/>
                  </a:ext>
                </a:extLst>
              </a:tr>
              <a:tr h="319579">
                <a:tc>
                  <a:txBody>
                    <a:bodyPr/>
                    <a:lstStyle/>
                    <a:p>
                      <a:r>
                        <a:rPr lang="en-US" sz="1400"/>
                        <a:t>Product Image</a:t>
                      </a:r>
                    </a:p>
                  </a:txBody>
                  <a:tcPr/>
                </a:tc>
                <a:extLst>
                  <a:ext uri="{0D108BD9-81ED-4DB2-BD59-A6C34878D82A}">
                    <a16:rowId xmlns:a16="http://schemas.microsoft.com/office/drawing/2014/main" val="2813914646"/>
                  </a:ext>
                </a:extLst>
              </a:tr>
              <a:tr h="319579">
                <a:tc>
                  <a:txBody>
                    <a:bodyPr/>
                    <a:lstStyle/>
                    <a:p>
                      <a:r>
                        <a:rPr lang="en-US" sz="1400"/>
                        <a:t>Promo Code</a:t>
                      </a:r>
                    </a:p>
                  </a:txBody>
                  <a:tcPr/>
                </a:tc>
                <a:extLst>
                  <a:ext uri="{0D108BD9-81ED-4DB2-BD59-A6C34878D82A}">
                    <a16:rowId xmlns:a16="http://schemas.microsoft.com/office/drawing/2014/main" val="2119518049"/>
                  </a:ext>
                </a:extLst>
              </a:tr>
              <a:tr h="319579">
                <a:tc>
                  <a:txBody>
                    <a:bodyPr/>
                    <a:lstStyle/>
                    <a:p>
                      <a:r>
                        <a:rPr lang="en-US" sz="1400"/>
                        <a:t>Seat</a:t>
                      </a:r>
                    </a:p>
                  </a:txBody>
                  <a:tcPr/>
                </a:tc>
                <a:extLst>
                  <a:ext uri="{0D108BD9-81ED-4DB2-BD59-A6C34878D82A}">
                    <a16:rowId xmlns:a16="http://schemas.microsoft.com/office/drawing/2014/main" val="2961573711"/>
                  </a:ext>
                </a:extLst>
              </a:tr>
              <a:tr h="319579">
                <a:tc>
                  <a:txBody>
                    <a:bodyPr/>
                    <a:lstStyle/>
                    <a:p>
                      <a:r>
                        <a:rPr lang="en-US" sz="1400"/>
                        <a:t>Seat Map</a:t>
                      </a:r>
                    </a:p>
                  </a:txBody>
                  <a:tcPr/>
                </a:tc>
                <a:extLst>
                  <a:ext uri="{0D108BD9-81ED-4DB2-BD59-A6C34878D82A}">
                    <a16:rowId xmlns:a16="http://schemas.microsoft.com/office/drawing/2014/main" val="3260924787"/>
                  </a:ext>
                </a:extLst>
              </a:tr>
              <a:tr h="319579">
                <a:tc>
                  <a:txBody>
                    <a:bodyPr/>
                    <a:lstStyle/>
                    <a:p>
                      <a:r>
                        <a:rPr lang="en-US" sz="1400"/>
                        <a:t>Seat Row</a:t>
                      </a:r>
                    </a:p>
                  </a:txBody>
                  <a:tcPr/>
                </a:tc>
                <a:extLst>
                  <a:ext uri="{0D108BD9-81ED-4DB2-BD59-A6C34878D82A}">
                    <a16:rowId xmlns:a16="http://schemas.microsoft.com/office/drawing/2014/main" val="1076281896"/>
                  </a:ext>
                </a:extLst>
              </a:tr>
              <a:tr h="319579">
                <a:tc>
                  <a:txBody>
                    <a:bodyPr/>
                    <a:lstStyle/>
                    <a:p>
                      <a:r>
                        <a:rPr lang="en-US" sz="1400"/>
                        <a:t>Seat Section</a:t>
                      </a:r>
                    </a:p>
                  </a:txBody>
                  <a:tcPr/>
                </a:tc>
                <a:extLst>
                  <a:ext uri="{0D108BD9-81ED-4DB2-BD59-A6C34878D82A}">
                    <a16:rowId xmlns:a16="http://schemas.microsoft.com/office/drawing/2014/main" val="1564640337"/>
                  </a:ext>
                </a:extLst>
              </a:tr>
              <a:tr h="319579">
                <a:tc>
                  <a:txBody>
                    <a:bodyPr/>
                    <a:lstStyle/>
                    <a:p>
                      <a:r>
                        <a:rPr lang="en-US" sz="1400"/>
                        <a:t>Seat Tier</a:t>
                      </a:r>
                    </a:p>
                  </a:txBody>
                  <a:tcPr/>
                </a:tc>
                <a:extLst>
                  <a:ext uri="{0D108BD9-81ED-4DB2-BD59-A6C34878D82A}">
                    <a16:rowId xmlns:a16="http://schemas.microsoft.com/office/drawing/2014/main" val="416322987"/>
                  </a:ext>
                </a:extLst>
              </a:tr>
              <a:tr h="319579">
                <a:tc>
                  <a:txBody>
                    <a:bodyPr/>
                    <a:lstStyle/>
                    <a:p>
                      <a:r>
                        <a:rPr lang="en-US" sz="1400"/>
                        <a:t>Ticket</a:t>
                      </a:r>
                    </a:p>
                  </a:txBody>
                  <a:tcPr/>
                </a:tc>
                <a:extLst>
                  <a:ext uri="{0D108BD9-81ED-4DB2-BD59-A6C34878D82A}">
                    <a16:rowId xmlns:a16="http://schemas.microsoft.com/office/drawing/2014/main" val="3890091676"/>
                  </a:ext>
                </a:extLst>
              </a:tr>
            </a:tbl>
          </a:graphicData>
        </a:graphic>
      </p:graphicFrame>
      <p:sp>
        <p:nvSpPr>
          <p:cNvPr id="37" name="Arrow: Right 36">
            <a:extLst>
              <a:ext uri="{FF2B5EF4-FFF2-40B4-BE49-F238E27FC236}">
                <a16:creationId xmlns:a16="http://schemas.microsoft.com/office/drawing/2014/main" id="{C1B9BF59-FD78-4598-AEEA-8D4C555B37D4}"/>
              </a:ext>
            </a:extLst>
          </p:cNvPr>
          <p:cNvSpPr/>
          <p:nvPr/>
        </p:nvSpPr>
        <p:spPr>
          <a:xfrm>
            <a:off x="6924782" y="2467287"/>
            <a:ext cx="996593" cy="523221"/>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F70E2BE4-9665-4EF1-AE73-A6BD0E401C0A}"/>
              </a:ext>
            </a:extLst>
          </p:cNvPr>
          <p:cNvGrpSpPr/>
          <p:nvPr/>
        </p:nvGrpSpPr>
        <p:grpSpPr>
          <a:xfrm>
            <a:off x="205484" y="1160981"/>
            <a:ext cx="6503541"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22" name="Ink 21">
                  <a:extLst>
                    <a:ext uri="{FF2B5EF4-FFF2-40B4-BE49-F238E27FC236}">
                      <a16:creationId xmlns:a16="http://schemas.microsoft.com/office/drawing/2014/main" id="{D5027703-FDAA-4032-9249-878A2888C361}"/>
                    </a:ext>
                  </a:extLst>
                </p14:cNvPr>
                <p14:cNvContentPartPr/>
                <p14:nvPr/>
              </p14:nvContentPartPr>
              <p14:xfrm>
                <a:off x="8545730" y="2096877"/>
                <a:ext cx="5040" cy="12637"/>
              </p14:xfrm>
            </p:contentPart>
          </mc:Choice>
          <mc:Fallback>
            <p:pic>
              <p:nvPicPr>
                <p:cNvPr id="22" name="Ink 21">
                  <a:extLst>
                    <a:ext uri="{FF2B5EF4-FFF2-40B4-BE49-F238E27FC236}">
                      <a16:creationId xmlns:a16="http://schemas.microsoft.com/office/drawing/2014/main" id="{D5027703-FDAA-4032-9249-878A2888C361}"/>
                    </a:ext>
                  </a:extLst>
                </p:cNvPr>
                <p:cNvPicPr/>
                <p:nvPr/>
              </p:nvPicPr>
              <p:blipFill>
                <a:blip r:embed="rId3"/>
                <a:stretch>
                  <a:fillRect/>
                </a:stretch>
              </p:blipFill>
              <p:spPr>
                <a:xfrm>
                  <a:off x="8533130" y="2090009"/>
                  <a:ext cx="29736" cy="26098"/>
                </a:xfrm>
                <a:prstGeom prst="rect">
                  <a:avLst/>
                </a:prstGeom>
              </p:spPr>
            </p:pic>
          </mc:Fallback>
        </mc:AlternateContent>
        <p:sp>
          <p:nvSpPr>
            <p:cNvPr id="23" name="Rectangle 22">
              <a:extLst>
                <a:ext uri="{FF2B5EF4-FFF2-40B4-BE49-F238E27FC236}">
                  <a16:creationId xmlns:a16="http://schemas.microsoft.com/office/drawing/2014/main" id="{701FEAE7-3FE5-4D71-8E3D-0E5F66AD93F0}"/>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24" name="Rectangle 23">
              <a:extLst>
                <a:ext uri="{FF2B5EF4-FFF2-40B4-BE49-F238E27FC236}">
                  <a16:creationId xmlns:a16="http://schemas.microsoft.com/office/drawing/2014/main" id="{CA2269D4-3FA2-49C7-BAD5-1511B5D8F23B}"/>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25" name="Rectangle 24">
              <a:extLst>
                <a:ext uri="{FF2B5EF4-FFF2-40B4-BE49-F238E27FC236}">
                  <a16:creationId xmlns:a16="http://schemas.microsoft.com/office/drawing/2014/main" id="{6BBB9B5D-F98A-45F6-9A12-0FBB36154F81}"/>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26" name="Rectangle 25">
              <a:extLst>
                <a:ext uri="{FF2B5EF4-FFF2-40B4-BE49-F238E27FC236}">
                  <a16:creationId xmlns:a16="http://schemas.microsoft.com/office/drawing/2014/main" id="{911BA015-0DFE-488D-983C-275CC81B5DDE}"/>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27" name="Rectangle 26">
              <a:extLst>
                <a:ext uri="{FF2B5EF4-FFF2-40B4-BE49-F238E27FC236}">
                  <a16:creationId xmlns:a16="http://schemas.microsoft.com/office/drawing/2014/main" id="{C2416953-AF8E-479C-87CC-3EC9702B5710}"/>
                </a:ext>
              </a:extLst>
            </p:cNvPr>
            <p:cNvSpPr/>
            <p:nvPr/>
          </p:nvSpPr>
          <p:spPr>
            <a:xfrm>
              <a:off x="7640895" y="2907899"/>
              <a:ext cx="303389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Event Product Sales</a:t>
              </a:r>
            </a:p>
          </p:txBody>
        </p:sp>
        <p:sp>
          <p:nvSpPr>
            <p:cNvPr id="28" name="Rectangle 27">
              <a:extLst>
                <a:ext uri="{FF2B5EF4-FFF2-40B4-BE49-F238E27FC236}">
                  <a16:creationId xmlns:a16="http://schemas.microsoft.com/office/drawing/2014/main" id="{D55813B0-E92A-476F-819E-939222CB0895}"/>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29" name="Rectangle 28">
              <a:extLst>
                <a:ext uri="{FF2B5EF4-FFF2-40B4-BE49-F238E27FC236}">
                  <a16:creationId xmlns:a16="http://schemas.microsoft.com/office/drawing/2014/main" id="{0FD004D1-3417-4BE9-AA15-3F286C1ECC63}"/>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7EBD8284-8B58-4045-9BC4-C7A3E00C81C1}"/>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31" name="Rectangle 30">
              <a:extLst>
                <a:ext uri="{FF2B5EF4-FFF2-40B4-BE49-F238E27FC236}">
                  <a16:creationId xmlns:a16="http://schemas.microsoft.com/office/drawing/2014/main" id="{AB97ABE5-4FD9-412D-8243-F94E3FE7E890}"/>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50" name="Rectangle 49">
              <a:extLst>
                <a:ext uri="{FF2B5EF4-FFF2-40B4-BE49-F238E27FC236}">
                  <a16:creationId xmlns:a16="http://schemas.microsoft.com/office/drawing/2014/main" id="{A43B5D4D-73A7-488B-97E1-52A89ACF9792}"/>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F902AC53-2039-491B-8CF1-28967FA31855}"/>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52" name="Rectangle 51">
              <a:extLst>
                <a:ext uri="{FF2B5EF4-FFF2-40B4-BE49-F238E27FC236}">
                  <a16:creationId xmlns:a16="http://schemas.microsoft.com/office/drawing/2014/main" id="{CE8574E5-787E-4061-BD1F-6AE22F601016}"/>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53" name="Rectangle 52">
              <a:extLst>
                <a:ext uri="{FF2B5EF4-FFF2-40B4-BE49-F238E27FC236}">
                  <a16:creationId xmlns:a16="http://schemas.microsoft.com/office/drawing/2014/main" id="{AAA5EF9A-FB23-49A2-91A0-1D6DA200385A}"/>
                </a:ext>
              </a:extLst>
            </p:cNvPr>
            <p:cNvSpPr/>
            <p:nvPr/>
          </p:nvSpPr>
          <p:spPr>
            <a:xfrm>
              <a:off x="1523864" y="1947644"/>
              <a:ext cx="4394758"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FB89D149-12DE-47B4-8215-7EDA75293619}"/>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33600892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C45B8-4983-4FFB-BD8B-B2F43686E476}"/>
              </a:ext>
            </a:extLst>
          </p:cNvPr>
          <p:cNvSpPr txBox="1"/>
          <p:nvPr/>
        </p:nvSpPr>
        <p:spPr>
          <a:xfrm flipH="1">
            <a:off x="183428" y="57680"/>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Event Product Sales -&gt; Enriched Tables</a:t>
            </a:r>
          </a:p>
        </p:txBody>
      </p:sp>
      <p:graphicFrame>
        <p:nvGraphicFramePr>
          <p:cNvPr id="35" name="Table 35">
            <a:extLst>
              <a:ext uri="{FF2B5EF4-FFF2-40B4-BE49-F238E27FC236}">
                <a16:creationId xmlns:a16="http://schemas.microsoft.com/office/drawing/2014/main" id="{8ED9BE5A-E89B-43D7-B6FE-223D219DC8AD}"/>
              </a:ext>
            </a:extLst>
          </p:cNvPr>
          <p:cNvGraphicFramePr>
            <a:graphicFrameLocks noGrp="1"/>
          </p:cNvGraphicFramePr>
          <p:nvPr>
            <p:extLst>
              <p:ext uri="{D42A27DB-BD31-4B8C-83A1-F6EECF244321}">
                <p14:modId xmlns:p14="http://schemas.microsoft.com/office/powerpoint/2010/main" val="2696351052"/>
              </p:ext>
            </p:extLst>
          </p:nvPr>
        </p:nvGraphicFramePr>
        <p:xfrm>
          <a:off x="8003569" y="998331"/>
          <a:ext cx="3978209" cy="5170770"/>
        </p:xfrm>
        <a:graphic>
          <a:graphicData uri="http://schemas.openxmlformats.org/drawingml/2006/table">
            <a:tbl>
              <a:tblPr firstRow="1" bandRow="1">
                <a:tableStyleId>{B301B821-A1FF-4177-AEE7-76D212191A09}</a:tableStyleId>
              </a:tblPr>
              <a:tblGrid>
                <a:gridCol w="1905570">
                  <a:extLst>
                    <a:ext uri="{9D8B030D-6E8A-4147-A177-3AD203B41FA5}">
                      <a16:colId xmlns:a16="http://schemas.microsoft.com/office/drawing/2014/main" val="832068167"/>
                    </a:ext>
                  </a:extLst>
                </a:gridCol>
                <a:gridCol w="2072639">
                  <a:extLst>
                    <a:ext uri="{9D8B030D-6E8A-4147-A177-3AD203B41FA5}">
                      <a16:colId xmlns:a16="http://schemas.microsoft.com/office/drawing/2014/main" val="2701654877"/>
                    </a:ext>
                  </a:extLst>
                </a:gridCol>
              </a:tblGrid>
              <a:tr h="287265">
                <a:tc>
                  <a:txBody>
                    <a:bodyPr/>
                    <a:lstStyle/>
                    <a:p>
                      <a:r>
                        <a:rPr lang="en-US" sz="1200"/>
                        <a:t>Entity Name</a:t>
                      </a:r>
                    </a:p>
                  </a:txBody>
                  <a:tcPr/>
                </a:tc>
                <a:tc>
                  <a:txBody>
                    <a:bodyPr/>
                    <a:lstStyle/>
                    <a:p>
                      <a:r>
                        <a:rPr lang="en-US" sz="1200"/>
                        <a:t>Source</a:t>
                      </a:r>
                    </a:p>
                  </a:txBody>
                  <a:tcPr/>
                </a:tc>
                <a:extLst>
                  <a:ext uri="{0D108BD9-81ED-4DB2-BD59-A6C34878D82A}">
                    <a16:rowId xmlns:a16="http://schemas.microsoft.com/office/drawing/2014/main" val="897896226"/>
                  </a:ext>
                </a:extLst>
              </a:tr>
              <a:tr h="287265">
                <a:tc>
                  <a:txBody>
                    <a:bodyPr/>
                    <a:lstStyle/>
                    <a:p>
                      <a:r>
                        <a:rPr lang="en-US" sz="1200"/>
                        <a:t>Account</a:t>
                      </a:r>
                    </a:p>
                  </a:txBody>
                  <a:tcPr/>
                </a:tc>
                <a:tc>
                  <a:txBody>
                    <a:bodyPr/>
                    <a:lstStyle/>
                    <a:p>
                      <a:r>
                        <a:rPr lang="en-US" sz="1200"/>
                        <a:t>CDM Common</a:t>
                      </a:r>
                    </a:p>
                  </a:txBody>
                  <a:tcPr/>
                </a:tc>
                <a:extLst>
                  <a:ext uri="{0D108BD9-81ED-4DB2-BD59-A6C34878D82A}">
                    <a16:rowId xmlns:a16="http://schemas.microsoft.com/office/drawing/2014/main" val="3582976416"/>
                  </a:ext>
                </a:extLst>
              </a:tr>
              <a:tr h="287265">
                <a:tc>
                  <a:txBody>
                    <a:bodyPr/>
                    <a:lstStyle/>
                    <a:p>
                      <a:r>
                        <a:rPr lang="en-US" sz="1200"/>
                        <a:t>Contact</a:t>
                      </a:r>
                    </a:p>
                  </a:txBody>
                  <a:tcPr/>
                </a:tc>
                <a:tc>
                  <a:txBody>
                    <a:bodyPr/>
                    <a:lstStyle/>
                    <a:p>
                      <a:r>
                        <a:rPr lang="en-US" sz="1200"/>
                        <a:t>CDM Common</a:t>
                      </a:r>
                    </a:p>
                  </a:txBody>
                  <a:tcPr/>
                </a:tc>
                <a:extLst>
                  <a:ext uri="{0D108BD9-81ED-4DB2-BD59-A6C34878D82A}">
                    <a16:rowId xmlns:a16="http://schemas.microsoft.com/office/drawing/2014/main" val="1266677574"/>
                  </a:ext>
                </a:extLst>
              </a:tr>
              <a:tr h="287265">
                <a:tc>
                  <a:txBody>
                    <a:bodyPr/>
                    <a:lstStyle/>
                    <a:p>
                      <a:r>
                        <a:rPr lang="en-US" sz="1200"/>
                        <a:t>Attraction</a:t>
                      </a:r>
                    </a:p>
                  </a:txBody>
                  <a:tcPr/>
                </a:tc>
                <a:tc>
                  <a:txBody>
                    <a:bodyPr/>
                    <a:lstStyle/>
                    <a:p>
                      <a:r>
                        <a:rPr lang="en-US" sz="1200"/>
                        <a:t>Media Events &amp; Venues</a:t>
                      </a:r>
                    </a:p>
                  </a:txBody>
                  <a:tcPr/>
                </a:tc>
                <a:extLst>
                  <a:ext uri="{0D108BD9-81ED-4DB2-BD59-A6C34878D82A}">
                    <a16:rowId xmlns:a16="http://schemas.microsoft.com/office/drawing/2014/main" val="2744827799"/>
                  </a:ext>
                </a:extLst>
              </a:tr>
              <a:tr h="287265">
                <a:tc>
                  <a:txBody>
                    <a:bodyPr/>
                    <a:lstStyle/>
                    <a:p>
                      <a:r>
                        <a:rPr lang="en-US" sz="1200"/>
                        <a:t>Concession Stand</a:t>
                      </a:r>
                    </a:p>
                  </a:txBody>
                  <a:tcPr/>
                </a:tc>
                <a:tc>
                  <a:txBody>
                    <a:bodyPr/>
                    <a:lstStyle/>
                    <a:p>
                      <a:r>
                        <a:rPr lang="en-US" sz="1200"/>
                        <a:t>Media Events &amp; Venues</a:t>
                      </a:r>
                    </a:p>
                  </a:txBody>
                  <a:tcPr/>
                </a:tc>
                <a:extLst>
                  <a:ext uri="{0D108BD9-81ED-4DB2-BD59-A6C34878D82A}">
                    <a16:rowId xmlns:a16="http://schemas.microsoft.com/office/drawing/2014/main" val="2897179751"/>
                  </a:ext>
                </a:extLst>
              </a:tr>
              <a:tr h="287265">
                <a:tc>
                  <a:txBody>
                    <a:bodyPr/>
                    <a:lstStyle/>
                    <a:p>
                      <a:r>
                        <a:rPr lang="en-US" sz="1200"/>
                        <a:t>Event Attraction</a:t>
                      </a:r>
                    </a:p>
                  </a:txBody>
                  <a:tcPr/>
                </a:tc>
                <a:tc>
                  <a:txBody>
                    <a:bodyPr/>
                    <a:lstStyle/>
                    <a:p>
                      <a:r>
                        <a:rPr lang="en-US" sz="1200"/>
                        <a:t>Media Events &amp; Venues</a:t>
                      </a:r>
                    </a:p>
                  </a:txBody>
                  <a:tcPr/>
                </a:tc>
                <a:extLst>
                  <a:ext uri="{0D108BD9-81ED-4DB2-BD59-A6C34878D82A}">
                    <a16:rowId xmlns:a16="http://schemas.microsoft.com/office/drawing/2014/main" val="531405255"/>
                  </a:ext>
                </a:extLst>
              </a:tr>
              <a:tr h="287265">
                <a:tc>
                  <a:txBody>
                    <a:bodyPr/>
                    <a:lstStyle/>
                    <a:p>
                      <a:r>
                        <a:rPr lang="en-US" sz="1200"/>
                        <a:t>Facility</a:t>
                      </a:r>
                    </a:p>
                  </a:txBody>
                  <a:tcPr/>
                </a:tc>
                <a:tc>
                  <a:txBody>
                    <a:bodyPr/>
                    <a:lstStyle/>
                    <a:p>
                      <a:r>
                        <a:rPr lang="en-US" sz="1200"/>
                        <a:t>Media Events &amp; Venues</a:t>
                      </a:r>
                    </a:p>
                  </a:txBody>
                  <a:tcPr/>
                </a:tc>
                <a:extLst>
                  <a:ext uri="{0D108BD9-81ED-4DB2-BD59-A6C34878D82A}">
                    <a16:rowId xmlns:a16="http://schemas.microsoft.com/office/drawing/2014/main" val="1821601698"/>
                  </a:ext>
                </a:extLst>
              </a:tr>
              <a:tr h="287265">
                <a:tc>
                  <a:txBody>
                    <a:bodyPr/>
                    <a:lstStyle/>
                    <a:p>
                      <a:r>
                        <a:rPr lang="en-US" sz="1200"/>
                        <a:t>Guest</a:t>
                      </a:r>
                    </a:p>
                  </a:txBody>
                  <a:tcPr/>
                </a:tc>
                <a:tc>
                  <a:txBody>
                    <a:bodyPr/>
                    <a:lstStyle/>
                    <a:p>
                      <a:r>
                        <a:rPr lang="en-US" sz="1200"/>
                        <a:t>Media Common</a:t>
                      </a:r>
                    </a:p>
                  </a:txBody>
                  <a:tcPr/>
                </a:tc>
                <a:extLst>
                  <a:ext uri="{0D108BD9-81ED-4DB2-BD59-A6C34878D82A}">
                    <a16:rowId xmlns:a16="http://schemas.microsoft.com/office/drawing/2014/main" val="445784513"/>
                  </a:ext>
                </a:extLst>
              </a:tr>
              <a:tr h="287265">
                <a:tc>
                  <a:txBody>
                    <a:bodyPr/>
                    <a:lstStyle/>
                    <a:p>
                      <a:r>
                        <a:rPr lang="en-US" sz="1200"/>
                        <a:t>Lead</a:t>
                      </a:r>
                    </a:p>
                  </a:txBody>
                  <a:tcPr/>
                </a:tc>
                <a:tc>
                  <a:txBody>
                    <a:bodyPr/>
                    <a:lstStyle/>
                    <a:p>
                      <a:r>
                        <a:rPr lang="en-US" sz="1200"/>
                        <a:t>Dynamics 365 Sales</a:t>
                      </a:r>
                    </a:p>
                  </a:txBody>
                  <a:tcPr/>
                </a:tc>
                <a:extLst>
                  <a:ext uri="{0D108BD9-81ED-4DB2-BD59-A6C34878D82A}">
                    <a16:rowId xmlns:a16="http://schemas.microsoft.com/office/drawing/2014/main" val="2404278087"/>
                  </a:ext>
                </a:extLst>
              </a:tr>
              <a:tr h="287265">
                <a:tc>
                  <a:txBody>
                    <a:bodyPr/>
                    <a:lstStyle/>
                    <a:p>
                      <a:r>
                        <a:rPr lang="en-US" sz="1200"/>
                        <a:t>Media Asset</a:t>
                      </a:r>
                    </a:p>
                  </a:txBody>
                  <a:tcPr/>
                </a:tc>
                <a:tc>
                  <a:txBody>
                    <a:bodyPr/>
                    <a:lstStyle/>
                    <a:p>
                      <a:r>
                        <a:rPr lang="en-US" sz="1200"/>
                        <a:t>Media Common</a:t>
                      </a:r>
                    </a:p>
                  </a:txBody>
                  <a:tcPr/>
                </a:tc>
                <a:extLst>
                  <a:ext uri="{0D108BD9-81ED-4DB2-BD59-A6C34878D82A}">
                    <a16:rowId xmlns:a16="http://schemas.microsoft.com/office/drawing/2014/main" val="481286195"/>
                  </a:ext>
                </a:extLst>
              </a:tr>
              <a:tr h="287265">
                <a:tc>
                  <a:txBody>
                    <a:bodyPr/>
                    <a:lstStyle/>
                    <a:p>
                      <a:r>
                        <a:rPr lang="en-US" sz="1200"/>
                        <a:t>Media Event</a:t>
                      </a:r>
                    </a:p>
                  </a:txBody>
                  <a:tcPr/>
                </a:tc>
                <a:tc>
                  <a:txBody>
                    <a:bodyPr/>
                    <a:lstStyle/>
                    <a:p>
                      <a:r>
                        <a:rPr lang="en-US" sz="1200"/>
                        <a:t>Media Events &amp; Venues</a:t>
                      </a:r>
                    </a:p>
                  </a:txBody>
                  <a:tcPr/>
                </a:tc>
                <a:extLst>
                  <a:ext uri="{0D108BD9-81ED-4DB2-BD59-A6C34878D82A}">
                    <a16:rowId xmlns:a16="http://schemas.microsoft.com/office/drawing/2014/main" val="1173635823"/>
                  </a:ext>
                </a:extLst>
              </a:tr>
              <a:tr h="287265">
                <a:tc>
                  <a:txBody>
                    <a:bodyPr/>
                    <a:lstStyle/>
                    <a:p>
                      <a:r>
                        <a:rPr lang="en-US" sz="1200"/>
                        <a:t>Media Venue</a:t>
                      </a:r>
                    </a:p>
                  </a:txBody>
                  <a:tcPr/>
                </a:tc>
                <a:tc>
                  <a:txBody>
                    <a:bodyPr/>
                    <a:lstStyle/>
                    <a:p>
                      <a:r>
                        <a:rPr lang="en-US" sz="1200"/>
                        <a:t>Media Events &amp; Venues</a:t>
                      </a:r>
                    </a:p>
                  </a:txBody>
                  <a:tcPr/>
                </a:tc>
                <a:extLst>
                  <a:ext uri="{0D108BD9-81ED-4DB2-BD59-A6C34878D82A}">
                    <a16:rowId xmlns:a16="http://schemas.microsoft.com/office/drawing/2014/main" val="509033617"/>
                  </a:ext>
                </a:extLst>
              </a:tr>
              <a:tr h="287265">
                <a:tc>
                  <a:txBody>
                    <a:bodyPr/>
                    <a:lstStyle/>
                    <a:p>
                      <a:r>
                        <a:rPr lang="en-US" sz="1200"/>
                        <a:t>Opportunity Product</a:t>
                      </a:r>
                    </a:p>
                  </a:txBody>
                  <a:tcPr/>
                </a:tc>
                <a:tc>
                  <a:txBody>
                    <a:bodyPr/>
                    <a:lstStyle/>
                    <a:p>
                      <a:r>
                        <a:rPr lang="en-US" sz="1200"/>
                        <a:t>Dynamics 365 Sales</a:t>
                      </a:r>
                    </a:p>
                  </a:txBody>
                  <a:tcPr/>
                </a:tc>
                <a:extLst>
                  <a:ext uri="{0D108BD9-81ED-4DB2-BD59-A6C34878D82A}">
                    <a16:rowId xmlns:a16="http://schemas.microsoft.com/office/drawing/2014/main" val="3147798069"/>
                  </a:ext>
                </a:extLst>
              </a:tr>
              <a:tr h="287265">
                <a:tc>
                  <a:txBody>
                    <a:bodyPr/>
                    <a:lstStyle/>
                    <a:p>
                      <a:r>
                        <a:rPr lang="en-US" sz="1200"/>
                        <a:t>Order Product</a:t>
                      </a:r>
                    </a:p>
                  </a:txBody>
                  <a:tcPr/>
                </a:tc>
                <a:tc>
                  <a:txBody>
                    <a:bodyPr/>
                    <a:lstStyle/>
                    <a:p>
                      <a:r>
                        <a:rPr lang="en-US" sz="1200"/>
                        <a:t>Dynamics 365 Sales</a:t>
                      </a:r>
                    </a:p>
                  </a:txBody>
                  <a:tcPr/>
                </a:tc>
                <a:extLst>
                  <a:ext uri="{0D108BD9-81ED-4DB2-BD59-A6C34878D82A}">
                    <a16:rowId xmlns:a16="http://schemas.microsoft.com/office/drawing/2014/main" val="3403542386"/>
                  </a:ext>
                </a:extLst>
              </a:tr>
              <a:tr h="287265">
                <a:tc>
                  <a:txBody>
                    <a:bodyPr/>
                    <a:lstStyle/>
                    <a:p>
                      <a:r>
                        <a:rPr lang="en-US" sz="1200"/>
                        <a:t>Order</a:t>
                      </a:r>
                    </a:p>
                  </a:txBody>
                  <a:tcPr/>
                </a:tc>
                <a:tc>
                  <a:txBody>
                    <a:bodyPr/>
                    <a:lstStyle/>
                    <a:p>
                      <a:r>
                        <a:rPr lang="en-US" sz="1200"/>
                        <a:t>Dynamics 365 Sales</a:t>
                      </a:r>
                    </a:p>
                  </a:txBody>
                  <a:tcPr/>
                </a:tc>
                <a:extLst>
                  <a:ext uri="{0D108BD9-81ED-4DB2-BD59-A6C34878D82A}">
                    <a16:rowId xmlns:a16="http://schemas.microsoft.com/office/drawing/2014/main" val="2508013585"/>
                  </a:ext>
                </a:extLst>
              </a:tr>
              <a:tr h="287265">
                <a:tc>
                  <a:txBody>
                    <a:bodyPr/>
                    <a:lstStyle/>
                    <a:p>
                      <a:r>
                        <a:rPr lang="en-US" sz="1200"/>
                        <a:t>Price List</a:t>
                      </a:r>
                    </a:p>
                  </a:txBody>
                  <a:tcPr/>
                </a:tc>
                <a:tc>
                  <a:txBody>
                    <a:bodyPr/>
                    <a:lstStyle/>
                    <a:p>
                      <a:r>
                        <a:rPr lang="en-US" sz="1200"/>
                        <a:t>Dynamics 365 Sales</a:t>
                      </a:r>
                    </a:p>
                  </a:txBody>
                  <a:tcPr/>
                </a:tc>
                <a:extLst>
                  <a:ext uri="{0D108BD9-81ED-4DB2-BD59-A6C34878D82A}">
                    <a16:rowId xmlns:a16="http://schemas.microsoft.com/office/drawing/2014/main" val="2929018563"/>
                  </a:ext>
                </a:extLst>
              </a:tr>
              <a:tr h="287265">
                <a:tc>
                  <a:txBody>
                    <a:bodyPr/>
                    <a:lstStyle/>
                    <a:p>
                      <a:r>
                        <a:rPr lang="en-US" sz="1200"/>
                        <a:t>Product</a:t>
                      </a:r>
                    </a:p>
                  </a:txBody>
                  <a:tcPr/>
                </a:tc>
                <a:tc>
                  <a:txBody>
                    <a:bodyPr/>
                    <a:lstStyle/>
                    <a:p>
                      <a:r>
                        <a:rPr lang="en-US" sz="1200"/>
                        <a:t>Dynamics 365 Sales</a:t>
                      </a:r>
                    </a:p>
                  </a:txBody>
                  <a:tcPr/>
                </a:tc>
                <a:extLst>
                  <a:ext uri="{0D108BD9-81ED-4DB2-BD59-A6C34878D82A}">
                    <a16:rowId xmlns:a16="http://schemas.microsoft.com/office/drawing/2014/main" val="4372408"/>
                  </a:ext>
                </a:extLst>
              </a:tr>
              <a:tr h="287265">
                <a:tc>
                  <a:txBody>
                    <a:bodyPr/>
                    <a:lstStyle/>
                    <a:p>
                      <a:r>
                        <a:rPr lang="en-US" sz="1200"/>
                        <a:t>Quote Product</a:t>
                      </a:r>
                    </a:p>
                  </a:txBody>
                  <a:tcPr/>
                </a:tc>
                <a:tc>
                  <a:txBody>
                    <a:bodyPr/>
                    <a:lstStyle/>
                    <a:p>
                      <a:r>
                        <a:rPr lang="en-US" sz="1200"/>
                        <a:t>Dynamics 365 Sales</a:t>
                      </a:r>
                    </a:p>
                  </a:txBody>
                  <a:tcPr/>
                </a:tc>
                <a:extLst>
                  <a:ext uri="{0D108BD9-81ED-4DB2-BD59-A6C34878D82A}">
                    <a16:rowId xmlns:a16="http://schemas.microsoft.com/office/drawing/2014/main" val="3375489312"/>
                  </a:ext>
                </a:extLst>
              </a:tr>
            </a:tbl>
          </a:graphicData>
        </a:graphic>
      </p:graphicFrame>
      <p:sp>
        <p:nvSpPr>
          <p:cNvPr id="37" name="Arrow: Right 36">
            <a:extLst>
              <a:ext uri="{FF2B5EF4-FFF2-40B4-BE49-F238E27FC236}">
                <a16:creationId xmlns:a16="http://schemas.microsoft.com/office/drawing/2014/main" id="{C1B9BF59-FD78-4598-AEEA-8D4C555B37D4}"/>
              </a:ext>
            </a:extLst>
          </p:cNvPr>
          <p:cNvSpPr/>
          <p:nvPr/>
        </p:nvSpPr>
        <p:spPr>
          <a:xfrm>
            <a:off x="6920927" y="2433461"/>
            <a:ext cx="910991" cy="608689"/>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C2E78471-9538-46A4-AD1C-1D2CACE462D6}"/>
              </a:ext>
            </a:extLst>
          </p:cNvPr>
          <p:cNvGrpSpPr/>
          <p:nvPr/>
        </p:nvGrpSpPr>
        <p:grpSpPr>
          <a:xfrm>
            <a:off x="205484" y="1160981"/>
            <a:ext cx="6503541"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22" name="Ink 21">
                  <a:extLst>
                    <a:ext uri="{FF2B5EF4-FFF2-40B4-BE49-F238E27FC236}">
                      <a16:creationId xmlns:a16="http://schemas.microsoft.com/office/drawing/2014/main" id="{0E846111-9E73-419D-8BAE-C6F82ADF22AF}"/>
                    </a:ext>
                  </a:extLst>
                </p14:cNvPr>
                <p14:cNvContentPartPr/>
                <p14:nvPr/>
              </p14:nvContentPartPr>
              <p14:xfrm>
                <a:off x="8545730" y="2096877"/>
                <a:ext cx="5040" cy="12637"/>
              </p14:xfrm>
            </p:contentPart>
          </mc:Choice>
          <mc:Fallback>
            <p:pic>
              <p:nvPicPr>
                <p:cNvPr id="22" name="Ink 21">
                  <a:extLst>
                    <a:ext uri="{FF2B5EF4-FFF2-40B4-BE49-F238E27FC236}">
                      <a16:creationId xmlns:a16="http://schemas.microsoft.com/office/drawing/2014/main" id="{0E846111-9E73-419D-8BAE-C6F82ADF22AF}"/>
                    </a:ext>
                  </a:extLst>
                </p:cNvPr>
                <p:cNvPicPr/>
                <p:nvPr/>
              </p:nvPicPr>
              <p:blipFill>
                <a:blip r:embed="rId3"/>
                <a:stretch>
                  <a:fillRect/>
                </a:stretch>
              </p:blipFill>
              <p:spPr>
                <a:xfrm>
                  <a:off x="8533130" y="2090009"/>
                  <a:ext cx="29736" cy="26098"/>
                </a:xfrm>
                <a:prstGeom prst="rect">
                  <a:avLst/>
                </a:prstGeom>
              </p:spPr>
            </p:pic>
          </mc:Fallback>
        </mc:AlternateContent>
        <p:sp>
          <p:nvSpPr>
            <p:cNvPr id="23" name="Rectangle 22">
              <a:extLst>
                <a:ext uri="{FF2B5EF4-FFF2-40B4-BE49-F238E27FC236}">
                  <a16:creationId xmlns:a16="http://schemas.microsoft.com/office/drawing/2014/main" id="{318E3C34-1F6D-4115-B169-E28E94FD54C8}"/>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24" name="Rectangle 23">
              <a:extLst>
                <a:ext uri="{FF2B5EF4-FFF2-40B4-BE49-F238E27FC236}">
                  <a16:creationId xmlns:a16="http://schemas.microsoft.com/office/drawing/2014/main" id="{199FCB93-12F7-448B-9B43-85182ABC11B2}"/>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25" name="Rectangle 24">
              <a:extLst>
                <a:ext uri="{FF2B5EF4-FFF2-40B4-BE49-F238E27FC236}">
                  <a16:creationId xmlns:a16="http://schemas.microsoft.com/office/drawing/2014/main" id="{DC659190-D460-4002-BAC4-F21B1A66A3AC}"/>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26" name="Rectangle 25">
              <a:extLst>
                <a:ext uri="{FF2B5EF4-FFF2-40B4-BE49-F238E27FC236}">
                  <a16:creationId xmlns:a16="http://schemas.microsoft.com/office/drawing/2014/main" id="{3D711251-7722-4263-BDAB-07D656A98525}"/>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27" name="Rectangle 26">
              <a:extLst>
                <a:ext uri="{FF2B5EF4-FFF2-40B4-BE49-F238E27FC236}">
                  <a16:creationId xmlns:a16="http://schemas.microsoft.com/office/drawing/2014/main" id="{0FBF9943-7C6B-449E-B74D-DE3B2F4C393E}"/>
                </a:ext>
              </a:extLst>
            </p:cNvPr>
            <p:cNvSpPr/>
            <p:nvPr/>
          </p:nvSpPr>
          <p:spPr>
            <a:xfrm>
              <a:off x="7640895" y="2907899"/>
              <a:ext cx="303389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Event Product Sales</a:t>
              </a:r>
            </a:p>
          </p:txBody>
        </p:sp>
        <p:sp>
          <p:nvSpPr>
            <p:cNvPr id="28" name="Rectangle 27">
              <a:extLst>
                <a:ext uri="{FF2B5EF4-FFF2-40B4-BE49-F238E27FC236}">
                  <a16:creationId xmlns:a16="http://schemas.microsoft.com/office/drawing/2014/main" id="{EF206619-4B15-4FB6-BCF6-6F8A5C9F227E}"/>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29" name="Rectangle 28">
              <a:extLst>
                <a:ext uri="{FF2B5EF4-FFF2-40B4-BE49-F238E27FC236}">
                  <a16:creationId xmlns:a16="http://schemas.microsoft.com/office/drawing/2014/main" id="{01D83FC3-873E-4759-ADFF-B43F266EA819}"/>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37B177B5-EA27-4204-8753-197B975C4354}"/>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31" name="Rectangle 30">
              <a:extLst>
                <a:ext uri="{FF2B5EF4-FFF2-40B4-BE49-F238E27FC236}">
                  <a16:creationId xmlns:a16="http://schemas.microsoft.com/office/drawing/2014/main" id="{CBFBE69F-B3F5-49DE-A789-B0D8D44940B5}"/>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50" name="Rectangle 49">
              <a:extLst>
                <a:ext uri="{FF2B5EF4-FFF2-40B4-BE49-F238E27FC236}">
                  <a16:creationId xmlns:a16="http://schemas.microsoft.com/office/drawing/2014/main" id="{8AB5F44C-7FFB-4385-BDB9-6F647682309A}"/>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945EDDC0-84AF-421A-8B59-242CE419770A}"/>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52" name="Rectangle 51">
              <a:extLst>
                <a:ext uri="{FF2B5EF4-FFF2-40B4-BE49-F238E27FC236}">
                  <a16:creationId xmlns:a16="http://schemas.microsoft.com/office/drawing/2014/main" id="{97348BC2-4D43-4734-802A-CBA914E440E8}"/>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53" name="Rectangle 52">
              <a:extLst>
                <a:ext uri="{FF2B5EF4-FFF2-40B4-BE49-F238E27FC236}">
                  <a16:creationId xmlns:a16="http://schemas.microsoft.com/office/drawing/2014/main" id="{ECFEF9D7-067A-412E-9607-B38BD825C2E1}"/>
                </a:ext>
              </a:extLst>
            </p:cNvPr>
            <p:cNvSpPr/>
            <p:nvPr/>
          </p:nvSpPr>
          <p:spPr>
            <a:xfrm>
              <a:off x="1523864" y="1947644"/>
              <a:ext cx="4394758"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2B82429C-C8BE-45D1-9B97-446A1FC9BD36}"/>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3929588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20950D6-D43E-47B6-B55D-D71C690E7FB5}"/>
              </a:ext>
            </a:extLst>
          </p:cNvPr>
          <p:cNvSpPr txBox="1"/>
          <p:nvPr/>
        </p:nvSpPr>
        <p:spPr>
          <a:xfrm flipH="1">
            <a:off x="203976" y="109764"/>
            <a:ext cx="9599207"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Sports Events Product Sales -&gt; Enriched Tables</a:t>
            </a:r>
          </a:p>
        </p:txBody>
      </p:sp>
      <p:sp>
        <p:nvSpPr>
          <p:cNvPr id="22" name="Arrow: Right 21">
            <a:extLst>
              <a:ext uri="{FF2B5EF4-FFF2-40B4-BE49-F238E27FC236}">
                <a16:creationId xmlns:a16="http://schemas.microsoft.com/office/drawing/2014/main" id="{0962B694-87F7-4581-BAB5-1B9542FBA284}"/>
              </a:ext>
            </a:extLst>
          </p:cNvPr>
          <p:cNvSpPr/>
          <p:nvPr/>
        </p:nvSpPr>
        <p:spPr>
          <a:xfrm>
            <a:off x="6998004" y="1885504"/>
            <a:ext cx="978408" cy="571860"/>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4" name="Table 35">
            <a:extLst>
              <a:ext uri="{FF2B5EF4-FFF2-40B4-BE49-F238E27FC236}">
                <a16:creationId xmlns:a16="http://schemas.microsoft.com/office/drawing/2014/main" id="{7362F73C-AB11-4FAC-BC54-EB7D7F84848E}"/>
              </a:ext>
            </a:extLst>
          </p:cNvPr>
          <p:cNvGraphicFramePr>
            <a:graphicFrameLocks noGrp="1"/>
          </p:cNvGraphicFramePr>
          <p:nvPr>
            <p:extLst>
              <p:ext uri="{D42A27DB-BD31-4B8C-83A1-F6EECF244321}">
                <p14:modId xmlns:p14="http://schemas.microsoft.com/office/powerpoint/2010/main" val="3223330885"/>
              </p:ext>
            </p:extLst>
          </p:nvPr>
        </p:nvGraphicFramePr>
        <p:xfrm>
          <a:off x="8265394" y="1756078"/>
          <a:ext cx="3716387" cy="783094"/>
        </p:xfrm>
        <a:graphic>
          <a:graphicData uri="http://schemas.openxmlformats.org/drawingml/2006/table">
            <a:tbl>
              <a:tblPr firstRow="1" bandRow="1">
                <a:tableStyleId>{B301B821-A1FF-4177-AEE7-76D212191A09}</a:tableStyleId>
              </a:tblPr>
              <a:tblGrid>
                <a:gridCol w="1734109">
                  <a:extLst>
                    <a:ext uri="{9D8B030D-6E8A-4147-A177-3AD203B41FA5}">
                      <a16:colId xmlns:a16="http://schemas.microsoft.com/office/drawing/2014/main" val="832068167"/>
                    </a:ext>
                  </a:extLst>
                </a:gridCol>
                <a:gridCol w="1982278">
                  <a:extLst>
                    <a:ext uri="{9D8B030D-6E8A-4147-A177-3AD203B41FA5}">
                      <a16:colId xmlns:a16="http://schemas.microsoft.com/office/drawing/2014/main" val="3735634954"/>
                    </a:ext>
                  </a:extLst>
                </a:gridCol>
              </a:tblGrid>
              <a:tr h="353275">
                <a:tc>
                  <a:txBody>
                    <a:bodyPr/>
                    <a:lstStyle/>
                    <a:p>
                      <a:r>
                        <a:rPr lang="en-US" sz="1400"/>
                        <a:t>Entity Name</a:t>
                      </a:r>
                    </a:p>
                  </a:txBody>
                  <a:tcPr/>
                </a:tc>
                <a:tc>
                  <a:txBody>
                    <a:bodyPr/>
                    <a:lstStyle/>
                    <a:p>
                      <a:r>
                        <a:rPr lang="en-US" sz="1400"/>
                        <a:t>Source</a:t>
                      </a:r>
                    </a:p>
                  </a:txBody>
                  <a:tcPr/>
                </a:tc>
                <a:extLst>
                  <a:ext uri="{0D108BD9-81ED-4DB2-BD59-A6C34878D82A}">
                    <a16:rowId xmlns:a16="http://schemas.microsoft.com/office/drawing/2014/main" val="897896226"/>
                  </a:ext>
                </a:extLst>
              </a:tr>
              <a:tr h="429819">
                <a:tc>
                  <a:txBody>
                    <a:bodyPr/>
                    <a:lstStyle/>
                    <a:p>
                      <a:r>
                        <a:rPr lang="en-US" sz="1400"/>
                        <a:t>Media Event</a:t>
                      </a:r>
                    </a:p>
                  </a:txBody>
                  <a:tcPr/>
                </a:tc>
                <a:tc>
                  <a:txBody>
                    <a:bodyPr/>
                    <a:lstStyle/>
                    <a:p>
                      <a:r>
                        <a:rPr lang="en-US" sz="1400"/>
                        <a:t>Media Events &amp; Venues</a:t>
                      </a:r>
                    </a:p>
                  </a:txBody>
                  <a:tcPr/>
                </a:tc>
                <a:extLst>
                  <a:ext uri="{0D108BD9-81ED-4DB2-BD59-A6C34878D82A}">
                    <a16:rowId xmlns:a16="http://schemas.microsoft.com/office/drawing/2014/main" val="889496376"/>
                  </a:ext>
                </a:extLst>
              </a:tr>
            </a:tbl>
          </a:graphicData>
        </a:graphic>
      </p:graphicFrame>
      <p:grpSp>
        <p:nvGrpSpPr>
          <p:cNvPr id="21" name="Group 20">
            <a:extLst>
              <a:ext uri="{FF2B5EF4-FFF2-40B4-BE49-F238E27FC236}">
                <a16:creationId xmlns:a16="http://schemas.microsoft.com/office/drawing/2014/main" id="{B92F545D-DBB2-409A-8AF1-B039EE836018}"/>
              </a:ext>
            </a:extLst>
          </p:cNvPr>
          <p:cNvGrpSpPr/>
          <p:nvPr/>
        </p:nvGrpSpPr>
        <p:grpSpPr>
          <a:xfrm>
            <a:off x="205484" y="1160981"/>
            <a:ext cx="6503541"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23" name="Ink 22">
                  <a:extLst>
                    <a:ext uri="{FF2B5EF4-FFF2-40B4-BE49-F238E27FC236}">
                      <a16:creationId xmlns:a16="http://schemas.microsoft.com/office/drawing/2014/main" id="{06B4CB2F-6C43-421A-8AAA-F24D49C5704F}"/>
                    </a:ext>
                  </a:extLst>
                </p14:cNvPr>
                <p14:cNvContentPartPr/>
                <p14:nvPr/>
              </p14:nvContentPartPr>
              <p14:xfrm>
                <a:off x="8545730" y="2096877"/>
                <a:ext cx="5040" cy="12637"/>
              </p14:xfrm>
            </p:contentPart>
          </mc:Choice>
          <mc:Fallback>
            <p:pic>
              <p:nvPicPr>
                <p:cNvPr id="23" name="Ink 22">
                  <a:extLst>
                    <a:ext uri="{FF2B5EF4-FFF2-40B4-BE49-F238E27FC236}">
                      <a16:creationId xmlns:a16="http://schemas.microsoft.com/office/drawing/2014/main" id="{06B4CB2F-6C43-421A-8AAA-F24D49C5704F}"/>
                    </a:ext>
                  </a:extLst>
                </p:cNvPr>
                <p:cNvPicPr/>
                <p:nvPr/>
              </p:nvPicPr>
              <p:blipFill>
                <a:blip r:embed="rId3"/>
                <a:stretch>
                  <a:fillRect/>
                </a:stretch>
              </p:blipFill>
              <p:spPr>
                <a:xfrm>
                  <a:off x="8533130" y="2090009"/>
                  <a:ext cx="29736" cy="26098"/>
                </a:xfrm>
                <a:prstGeom prst="rect">
                  <a:avLst/>
                </a:prstGeom>
              </p:spPr>
            </p:pic>
          </mc:Fallback>
        </mc:AlternateContent>
        <p:sp>
          <p:nvSpPr>
            <p:cNvPr id="25" name="Rectangle 24">
              <a:extLst>
                <a:ext uri="{FF2B5EF4-FFF2-40B4-BE49-F238E27FC236}">
                  <a16:creationId xmlns:a16="http://schemas.microsoft.com/office/drawing/2014/main" id="{6919E124-F1B6-4F8D-8A1F-9BFDE30351C5}"/>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26" name="Rectangle 25">
              <a:extLst>
                <a:ext uri="{FF2B5EF4-FFF2-40B4-BE49-F238E27FC236}">
                  <a16:creationId xmlns:a16="http://schemas.microsoft.com/office/drawing/2014/main" id="{D4109105-0440-4597-8736-3B59BF9F69A8}"/>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27" name="Rectangle 26">
              <a:extLst>
                <a:ext uri="{FF2B5EF4-FFF2-40B4-BE49-F238E27FC236}">
                  <a16:creationId xmlns:a16="http://schemas.microsoft.com/office/drawing/2014/main" id="{0AD33CB5-BF90-4B34-81F2-91B798E5D9A0}"/>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28" name="Rectangle 27">
              <a:extLst>
                <a:ext uri="{FF2B5EF4-FFF2-40B4-BE49-F238E27FC236}">
                  <a16:creationId xmlns:a16="http://schemas.microsoft.com/office/drawing/2014/main" id="{261C3199-214C-48FD-9507-E43FE8DC62B5}"/>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29" name="Rectangle 28">
              <a:extLst>
                <a:ext uri="{FF2B5EF4-FFF2-40B4-BE49-F238E27FC236}">
                  <a16:creationId xmlns:a16="http://schemas.microsoft.com/office/drawing/2014/main" id="{A90904CC-116F-4F1A-A291-5D8879FA2AEF}"/>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30" name="Rectangle 29">
              <a:extLst>
                <a:ext uri="{FF2B5EF4-FFF2-40B4-BE49-F238E27FC236}">
                  <a16:creationId xmlns:a16="http://schemas.microsoft.com/office/drawing/2014/main" id="{5DB43D16-58BE-447C-9B98-A905188C9703}"/>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31" name="Rectangle 30">
              <a:extLst>
                <a:ext uri="{FF2B5EF4-FFF2-40B4-BE49-F238E27FC236}">
                  <a16:creationId xmlns:a16="http://schemas.microsoft.com/office/drawing/2014/main" id="{D879ADCA-2BE6-40E6-9BC9-718DD7D009F2}"/>
                </a:ext>
              </a:extLst>
            </p:cNvPr>
            <p:cNvSpPr/>
            <p:nvPr/>
          </p:nvSpPr>
          <p:spPr>
            <a:xfrm>
              <a:off x="7640896" y="2447261"/>
              <a:ext cx="3033894" cy="4319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Segoe UI" panose="020B0502040204020203" pitchFamily="34" charset="0"/>
                <a:cs typeface="Segoe UI" panose="020B0502040204020203" pitchFamily="34" charset="0"/>
              </a:endParaRPr>
            </a:p>
            <a:p>
              <a:pPr algn="ctr"/>
              <a:r>
                <a:rPr lang="en-US" sz="1400">
                  <a:latin typeface="Segoe UI" panose="020B0502040204020203" pitchFamily="34" charset="0"/>
                  <a:cs typeface="Segoe UI" panose="020B0502040204020203" pitchFamily="34" charset="0"/>
                </a:rPr>
                <a:t>Media Sports Event Product Sales</a:t>
              </a:r>
            </a:p>
            <a:p>
              <a:pPr algn="ctr"/>
              <a:endParaRPr lang="en-US" sz="1400">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2C79F5EC-6435-4F93-81CE-2B8959E8727F}"/>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33" name="Rectangle 32">
              <a:extLst>
                <a:ext uri="{FF2B5EF4-FFF2-40B4-BE49-F238E27FC236}">
                  <a16:creationId xmlns:a16="http://schemas.microsoft.com/office/drawing/2014/main" id="{A94FFFBD-CA1E-45F9-B122-73926ADAA32F}"/>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4" name="Rectangle 33">
              <a:extLst>
                <a:ext uri="{FF2B5EF4-FFF2-40B4-BE49-F238E27FC236}">
                  <a16:creationId xmlns:a16="http://schemas.microsoft.com/office/drawing/2014/main" id="{EBCE4810-68B7-4154-9C9C-1B3874891B98}"/>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35" name="Rectangle 34">
              <a:extLst>
                <a:ext uri="{FF2B5EF4-FFF2-40B4-BE49-F238E27FC236}">
                  <a16:creationId xmlns:a16="http://schemas.microsoft.com/office/drawing/2014/main" id="{92869717-180D-4EE9-94DF-0924759D3EEC}"/>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36" name="Rectangle 35">
              <a:extLst>
                <a:ext uri="{FF2B5EF4-FFF2-40B4-BE49-F238E27FC236}">
                  <a16:creationId xmlns:a16="http://schemas.microsoft.com/office/drawing/2014/main" id="{F89DE5A8-293E-4125-AF5F-4C27812C5B72}"/>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37" name="Rectangle 36">
              <a:extLst>
                <a:ext uri="{FF2B5EF4-FFF2-40B4-BE49-F238E27FC236}">
                  <a16:creationId xmlns:a16="http://schemas.microsoft.com/office/drawing/2014/main" id="{836BF418-6562-4D4E-922A-DFE1CC64A74E}"/>
                </a:ext>
              </a:extLst>
            </p:cNvPr>
            <p:cNvSpPr/>
            <p:nvPr/>
          </p:nvSpPr>
          <p:spPr>
            <a:xfrm>
              <a:off x="1523864" y="1947644"/>
              <a:ext cx="4394758"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AC2212CF-B84B-4EE9-A829-67168C6B1AF4}"/>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41364905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Right 3">
            <a:extLst>
              <a:ext uri="{FF2B5EF4-FFF2-40B4-BE49-F238E27FC236}">
                <a16:creationId xmlns:a16="http://schemas.microsoft.com/office/drawing/2014/main" id="{7D8BF15D-3C83-4FE0-850C-1ED137108BEC}"/>
              </a:ext>
            </a:extLst>
          </p:cNvPr>
          <p:cNvSpPr/>
          <p:nvPr/>
        </p:nvSpPr>
        <p:spPr>
          <a:xfrm>
            <a:off x="7021409" y="1253715"/>
            <a:ext cx="870557" cy="523221"/>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35">
            <a:extLst>
              <a:ext uri="{FF2B5EF4-FFF2-40B4-BE49-F238E27FC236}">
                <a16:creationId xmlns:a16="http://schemas.microsoft.com/office/drawing/2014/main" id="{06F77EDB-A07B-4051-AC68-566375C81AC9}"/>
              </a:ext>
            </a:extLst>
          </p:cNvPr>
          <p:cNvGraphicFramePr>
            <a:graphicFrameLocks noGrp="1"/>
          </p:cNvGraphicFramePr>
          <p:nvPr>
            <p:extLst>
              <p:ext uri="{D42A27DB-BD31-4B8C-83A1-F6EECF244321}">
                <p14:modId xmlns:p14="http://schemas.microsoft.com/office/powerpoint/2010/main" val="120681645"/>
              </p:ext>
            </p:extLst>
          </p:nvPr>
        </p:nvGraphicFramePr>
        <p:xfrm>
          <a:off x="8116584" y="1200844"/>
          <a:ext cx="3863083" cy="783094"/>
        </p:xfrm>
        <a:graphic>
          <a:graphicData uri="http://schemas.openxmlformats.org/drawingml/2006/table">
            <a:tbl>
              <a:tblPr firstRow="1" bandRow="1">
                <a:tableStyleId>{B301B821-A1FF-4177-AEE7-76D212191A09}</a:tableStyleId>
              </a:tblPr>
              <a:tblGrid>
                <a:gridCol w="1802559">
                  <a:extLst>
                    <a:ext uri="{9D8B030D-6E8A-4147-A177-3AD203B41FA5}">
                      <a16:colId xmlns:a16="http://schemas.microsoft.com/office/drawing/2014/main" val="832068167"/>
                    </a:ext>
                  </a:extLst>
                </a:gridCol>
                <a:gridCol w="2060524">
                  <a:extLst>
                    <a:ext uri="{9D8B030D-6E8A-4147-A177-3AD203B41FA5}">
                      <a16:colId xmlns:a16="http://schemas.microsoft.com/office/drawing/2014/main" val="3735634954"/>
                    </a:ext>
                  </a:extLst>
                </a:gridCol>
              </a:tblGrid>
              <a:tr h="353275">
                <a:tc>
                  <a:txBody>
                    <a:bodyPr/>
                    <a:lstStyle/>
                    <a:p>
                      <a:r>
                        <a:rPr lang="en-US" sz="1400"/>
                        <a:t>Entity Name</a:t>
                      </a:r>
                    </a:p>
                  </a:txBody>
                  <a:tcPr/>
                </a:tc>
                <a:tc>
                  <a:txBody>
                    <a:bodyPr/>
                    <a:lstStyle/>
                    <a:p>
                      <a:r>
                        <a:rPr lang="en-US" sz="1400"/>
                        <a:t>Source</a:t>
                      </a:r>
                    </a:p>
                  </a:txBody>
                  <a:tcPr/>
                </a:tc>
                <a:extLst>
                  <a:ext uri="{0D108BD9-81ED-4DB2-BD59-A6C34878D82A}">
                    <a16:rowId xmlns:a16="http://schemas.microsoft.com/office/drawing/2014/main" val="897896226"/>
                  </a:ext>
                </a:extLst>
              </a:tr>
              <a:tr h="429819">
                <a:tc>
                  <a:txBody>
                    <a:bodyPr/>
                    <a:lstStyle/>
                    <a:p>
                      <a:r>
                        <a:rPr lang="en-US" sz="1400"/>
                        <a:t>Guest</a:t>
                      </a:r>
                    </a:p>
                  </a:txBody>
                  <a:tcPr/>
                </a:tc>
                <a:tc>
                  <a:txBody>
                    <a:bodyPr/>
                    <a:lstStyle/>
                    <a:p>
                      <a:r>
                        <a:rPr lang="en-US" sz="1400"/>
                        <a:t>Media Common</a:t>
                      </a:r>
                    </a:p>
                  </a:txBody>
                  <a:tcPr/>
                </a:tc>
                <a:extLst>
                  <a:ext uri="{0D108BD9-81ED-4DB2-BD59-A6C34878D82A}">
                    <a16:rowId xmlns:a16="http://schemas.microsoft.com/office/drawing/2014/main" val="889496376"/>
                  </a:ext>
                </a:extLst>
              </a:tr>
            </a:tbl>
          </a:graphicData>
        </a:graphic>
      </p:graphicFrame>
      <p:sp>
        <p:nvSpPr>
          <p:cNvPr id="39" name="TextBox 38">
            <a:extLst>
              <a:ext uri="{FF2B5EF4-FFF2-40B4-BE49-F238E27FC236}">
                <a16:creationId xmlns:a16="http://schemas.microsoft.com/office/drawing/2014/main" id="{8094C93D-57CE-47B4-BE4C-B8CC97D4912C}"/>
              </a:ext>
            </a:extLst>
          </p:cNvPr>
          <p:cNvSpPr txBox="1"/>
          <p:nvPr/>
        </p:nvSpPr>
        <p:spPr>
          <a:xfrm flipH="1">
            <a:off x="203976" y="109764"/>
            <a:ext cx="9599207"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Registration Portal -&gt; Enriched Tables</a:t>
            </a:r>
          </a:p>
        </p:txBody>
      </p:sp>
      <p:grpSp>
        <p:nvGrpSpPr>
          <p:cNvPr id="37" name="Group 36">
            <a:extLst>
              <a:ext uri="{FF2B5EF4-FFF2-40B4-BE49-F238E27FC236}">
                <a16:creationId xmlns:a16="http://schemas.microsoft.com/office/drawing/2014/main" id="{5502E4BA-778B-4F28-BFF1-CFE28592A7DD}"/>
              </a:ext>
            </a:extLst>
          </p:cNvPr>
          <p:cNvGrpSpPr/>
          <p:nvPr/>
        </p:nvGrpSpPr>
        <p:grpSpPr>
          <a:xfrm>
            <a:off x="205484" y="1160981"/>
            <a:ext cx="6591307"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38" name="Ink 37">
                  <a:extLst>
                    <a:ext uri="{FF2B5EF4-FFF2-40B4-BE49-F238E27FC236}">
                      <a16:creationId xmlns:a16="http://schemas.microsoft.com/office/drawing/2014/main" id="{ACBEA314-9B5C-484F-8DC9-FF0326A42AB5}"/>
                    </a:ext>
                  </a:extLst>
                </p14:cNvPr>
                <p14:cNvContentPartPr/>
                <p14:nvPr/>
              </p14:nvContentPartPr>
              <p14:xfrm>
                <a:off x="8545730" y="2096877"/>
                <a:ext cx="5040" cy="12637"/>
              </p14:xfrm>
            </p:contentPart>
          </mc:Choice>
          <mc:Fallback>
            <p:pic>
              <p:nvPicPr>
                <p:cNvPr id="38" name="Ink 37">
                  <a:extLst>
                    <a:ext uri="{FF2B5EF4-FFF2-40B4-BE49-F238E27FC236}">
                      <a16:creationId xmlns:a16="http://schemas.microsoft.com/office/drawing/2014/main" id="{ACBEA314-9B5C-484F-8DC9-FF0326A42AB5}"/>
                    </a:ext>
                  </a:extLst>
                </p:cNvPr>
                <p:cNvPicPr/>
                <p:nvPr/>
              </p:nvPicPr>
              <p:blipFill>
                <a:blip r:embed="rId3"/>
                <a:stretch>
                  <a:fillRect/>
                </a:stretch>
              </p:blipFill>
              <p:spPr>
                <a:xfrm>
                  <a:off x="8533130" y="2090009"/>
                  <a:ext cx="29736" cy="26098"/>
                </a:xfrm>
                <a:prstGeom prst="rect">
                  <a:avLst/>
                </a:prstGeom>
              </p:spPr>
            </p:pic>
          </mc:Fallback>
        </mc:AlternateContent>
        <p:sp>
          <p:nvSpPr>
            <p:cNvPr id="40" name="Rectangle 39">
              <a:extLst>
                <a:ext uri="{FF2B5EF4-FFF2-40B4-BE49-F238E27FC236}">
                  <a16:creationId xmlns:a16="http://schemas.microsoft.com/office/drawing/2014/main" id="{67C03A68-CCAD-4E8F-87AB-00136BBEBEC2}"/>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41" name="Rectangle 40">
              <a:extLst>
                <a:ext uri="{FF2B5EF4-FFF2-40B4-BE49-F238E27FC236}">
                  <a16:creationId xmlns:a16="http://schemas.microsoft.com/office/drawing/2014/main" id="{77645614-5217-41EF-B2B4-460292347E4F}"/>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42" name="Rectangle 41">
              <a:extLst>
                <a:ext uri="{FF2B5EF4-FFF2-40B4-BE49-F238E27FC236}">
                  <a16:creationId xmlns:a16="http://schemas.microsoft.com/office/drawing/2014/main" id="{2D32C7DD-DBB9-4E83-B42D-B2138AB0B138}"/>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43" name="Rectangle 42">
              <a:extLst>
                <a:ext uri="{FF2B5EF4-FFF2-40B4-BE49-F238E27FC236}">
                  <a16:creationId xmlns:a16="http://schemas.microsoft.com/office/drawing/2014/main" id="{D505A0F7-1D75-44F9-BC05-7595EEF6835A}"/>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44" name="Rectangle 43">
              <a:extLst>
                <a:ext uri="{FF2B5EF4-FFF2-40B4-BE49-F238E27FC236}">
                  <a16:creationId xmlns:a16="http://schemas.microsoft.com/office/drawing/2014/main" id="{84182557-18CB-493A-B80B-9B54EC1AC946}"/>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45" name="Rectangle 44">
              <a:extLst>
                <a:ext uri="{FF2B5EF4-FFF2-40B4-BE49-F238E27FC236}">
                  <a16:creationId xmlns:a16="http://schemas.microsoft.com/office/drawing/2014/main" id="{7A37EAAC-B2D1-44A8-AE8D-29EBC2838C8A}"/>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46" name="Rectangle 45">
              <a:extLst>
                <a:ext uri="{FF2B5EF4-FFF2-40B4-BE49-F238E27FC236}">
                  <a16:creationId xmlns:a16="http://schemas.microsoft.com/office/drawing/2014/main" id="{EA64D5D2-067F-4ECB-AD0B-990A0D5EED75}"/>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7" name="Rectangle 46">
              <a:extLst>
                <a:ext uri="{FF2B5EF4-FFF2-40B4-BE49-F238E27FC236}">
                  <a16:creationId xmlns:a16="http://schemas.microsoft.com/office/drawing/2014/main" id="{CB3C849A-19CB-40E8-89B0-7F345694C014}"/>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48" name="Rectangle 47">
              <a:extLst>
                <a:ext uri="{FF2B5EF4-FFF2-40B4-BE49-F238E27FC236}">
                  <a16:creationId xmlns:a16="http://schemas.microsoft.com/office/drawing/2014/main" id="{14B9B0D9-6F65-4BB5-8651-95C6B8785F05}"/>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9" name="Rectangle 48">
              <a:extLst>
                <a:ext uri="{FF2B5EF4-FFF2-40B4-BE49-F238E27FC236}">
                  <a16:creationId xmlns:a16="http://schemas.microsoft.com/office/drawing/2014/main" id="{45595366-92A5-4BF9-890E-EAB3D92867FA}"/>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50" name="Rectangle 49">
              <a:extLst>
                <a:ext uri="{FF2B5EF4-FFF2-40B4-BE49-F238E27FC236}">
                  <a16:creationId xmlns:a16="http://schemas.microsoft.com/office/drawing/2014/main" id="{CC367EF0-A712-41BD-9352-64DF8D1C5105}"/>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51" name="Rectangle 50">
              <a:extLst>
                <a:ext uri="{FF2B5EF4-FFF2-40B4-BE49-F238E27FC236}">
                  <a16:creationId xmlns:a16="http://schemas.microsoft.com/office/drawing/2014/main" id="{B11010B0-41CD-44D6-89E1-44D1E01BA998}"/>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52" name="Rectangle 51">
              <a:extLst>
                <a:ext uri="{FF2B5EF4-FFF2-40B4-BE49-F238E27FC236}">
                  <a16:creationId xmlns:a16="http://schemas.microsoft.com/office/drawing/2014/main" id="{BAE78661-B793-498A-9D03-7BDB1CA3844B}"/>
                </a:ext>
              </a:extLst>
            </p:cNvPr>
            <p:cNvSpPr/>
            <p:nvPr/>
          </p:nvSpPr>
          <p:spPr>
            <a:xfrm>
              <a:off x="1523864" y="1947644"/>
              <a:ext cx="4394758" cy="4484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latin typeface="Segoe UI" panose="020B0502040204020203" pitchFamily="34" charset="0"/>
                  <a:cs typeface="Segoe UI" panose="020B0502040204020203" pitchFamily="34" charset="0"/>
                </a:rPr>
                <a:t>Media Registration Portal</a:t>
              </a:r>
              <a:endParaRPr lang="en-US" sz="1400">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B2D65060-4388-4B61-A85D-0B4F70123627}"/>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32252902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 schematic&#10;&#10;Description automatically generated">
            <a:extLst>
              <a:ext uri="{FF2B5EF4-FFF2-40B4-BE49-F238E27FC236}">
                <a16:creationId xmlns:a16="http://schemas.microsoft.com/office/drawing/2014/main" id="{8783B787-963D-4928-836B-C1FA73CC57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2319" y="945928"/>
            <a:ext cx="8341695" cy="5858133"/>
          </a:xfrm>
          <a:prstGeom prst="rect">
            <a:avLst/>
          </a:prstGeom>
        </p:spPr>
      </p:pic>
      <p:sp>
        <p:nvSpPr>
          <p:cNvPr id="7" name="TextBox 6">
            <a:extLst>
              <a:ext uri="{FF2B5EF4-FFF2-40B4-BE49-F238E27FC236}">
                <a16:creationId xmlns:a16="http://schemas.microsoft.com/office/drawing/2014/main" id="{10677996-ABB7-43CC-93B3-4251DC76A36E}"/>
              </a:ext>
            </a:extLst>
          </p:cNvPr>
          <p:cNvSpPr txBox="1"/>
          <p:nvPr/>
        </p:nvSpPr>
        <p:spPr>
          <a:xfrm flipH="1">
            <a:off x="348341" y="126537"/>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ERD – Ticket Sales</a:t>
            </a:r>
            <a:endParaRPr lang="en-US" sz="20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164795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0677996-ABB7-43CC-93B3-4251DC76A36E}"/>
              </a:ext>
            </a:extLst>
          </p:cNvPr>
          <p:cNvSpPr txBox="1"/>
          <p:nvPr/>
        </p:nvSpPr>
        <p:spPr>
          <a:xfrm flipH="1">
            <a:off x="338067" y="133862"/>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ERD – Guest Management</a:t>
            </a:r>
            <a:endParaRPr lang="en-US" sz="2000">
              <a:latin typeface="Segoe UI" panose="020B0502040204020203" pitchFamily="34" charset="0"/>
              <a:cs typeface="Segoe UI" panose="020B0502040204020203" pitchFamily="34" charset="0"/>
            </a:endParaRPr>
          </a:p>
        </p:txBody>
      </p:sp>
      <p:pic>
        <p:nvPicPr>
          <p:cNvPr id="3" name="Picture 2" descr="Diagram, schematic&#10;&#10;Description automatically generated">
            <a:extLst>
              <a:ext uri="{FF2B5EF4-FFF2-40B4-BE49-F238E27FC236}">
                <a16:creationId xmlns:a16="http://schemas.microsoft.com/office/drawing/2014/main" id="{3597F15F-A18E-4FB5-80A7-22AF556B8F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0576" y="1017142"/>
            <a:ext cx="8897420" cy="5183775"/>
          </a:xfrm>
          <a:prstGeom prst="rect">
            <a:avLst/>
          </a:prstGeom>
        </p:spPr>
      </p:pic>
    </p:spTree>
    <p:extLst>
      <p:ext uri="{BB962C8B-B14F-4D97-AF65-F5344CB8AC3E}">
        <p14:creationId xmlns:p14="http://schemas.microsoft.com/office/powerpoint/2010/main" val="4014865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B393D-A632-4CB3-962B-561A11024445}"/>
              </a:ext>
            </a:extLst>
          </p:cNvPr>
          <p:cNvSpPr>
            <a:spLocks noGrp="1"/>
          </p:cNvSpPr>
          <p:nvPr>
            <p:ph type="title"/>
          </p:nvPr>
        </p:nvSpPr>
        <p:spPr/>
        <p:txBody>
          <a:bodyPr/>
          <a:lstStyle/>
          <a:p>
            <a:r>
              <a:rPr lang="en-US"/>
              <a:t>Media &amp; Entertainment Sub-Industries</a:t>
            </a:r>
          </a:p>
        </p:txBody>
      </p:sp>
      <p:sp>
        <p:nvSpPr>
          <p:cNvPr id="5" name="Rectangle 4">
            <a:extLst>
              <a:ext uri="{FF2B5EF4-FFF2-40B4-BE49-F238E27FC236}">
                <a16:creationId xmlns:a16="http://schemas.microsoft.com/office/drawing/2014/main" id="{14E758FD-6A89-4FE4-AE11-D0B286AD1953}"/>
              </a:ext>
            </a:extLst>
          </p:cNvPr>
          <p:cNvSpPr/>
          <p:nvPr/>
        </p:nvSpPr>
        <p:spPr bwMode="auto">
          <a:xfrm>
            <a:off x="297375" y="2971800"/>
            <a:ext cx="1883643" cy="914400"/>
          </a:xfrm>
          <a:prstGeom prst="rect">
            <a:avLst/>
          </a:prstGeom>
          <a:solidFill>
            <a:srgbClr val="243A5E">
              <a:lumMod val="75000"/>
            </a:srgbClr>
          </a:solidFill>
          <a:ln w="6350" cap="flat" cmpd="sng" algn="ctr">
            <a:noFill/>
            <a:prstDash val="solid"/>
            <a:headEnd type="none" w="med" len="med"/>
            <a:tailEnd type="none" w="med" len="med"/>
          </a:ln>
          <a:effectLst/>
        </p:spPr>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News &amp; Publishing</a:t>
            </a:r>
          </a:p>
        </p:txBody>
      </p:sp>
      <p:sp>
        <p:nvSpPr>
          <p:cNvPr id="9" name="Rectangle 8">
            <a:extLst>
              <a:ext uri="{FF2B5EF4-FFF2-40B4-BE49-F238E27FC236}">
                <a16:creationId xmlns:a16="http://schemas.microsoft.com/office/drawing/2014/main" id="{E82417D5-A82C-46EF-94C6-A1311D7842B2}"/>
              </a:ext>
            </a:extLst>
          </p:cNvPr>
          <p:cNvSpPr/>
          <p:nvPr/>
        </p:nvSpPr>
        <p:spPr bwMode="auto">
          <a:xfrm>
            <a:off x="4286546" y="2969501"/>
            <a:ext cx="1883643" cy="914400"/>
          </a:xfrm>
          <a:prstGeom prst="rect">
            <a:avLst/>
          </a:prstGeom>
          <a:solidFill>
            <a:srgbClr val="243A5E">
              <a:lumMod val="75000"/>
            </a:srgbClr>
          </a:solidFill>
          <a:ln w="6350" cap="flat" cmpd="sng" algn="ctr">
            <a:noFill/>
            <a:prstDash val="solid"/>
            <a:headEnd type="none" w="med" len="med"/>
            <a:tailEnd type="none" w="med" len="med"/>
          </a:ln>
          <a:effectLst/>
        </p:spPr>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Sports &amp; Gaming</a:t>
            </a:r>
          </a:p>
        </p:txBody>
      </p:sp>
      <p:pic>
        <p:nvPicPr>
          <p:cNvPr id="11" name="Picture 10">
            <a:extLst>
              <a:ext uri="{FF2B5EF4-FFF2-40B4-BE49-F238E27FC236}">
                <a16:creationId xmlns:a16="http://schemas.microsoft.com/office/drawing/2014/main" id="{17093CD3-69D7-4CDB-91BE-BA125502ECAB}"/>
              </a:ext>
            </a:extLst>
          </p:cNvPr>
          <p:cNvPicPr>
            <a:picLocks noChangeAspect="1"/>
          </p:cNvPicPr>
          <p:nvPr/>
        </p:nvPicPr>
        <p:blipFill rotWithShape="1">
          <a:blip r:embed="rId2">
            <a:extLst>
              <a:ext uri="{28A0092B-C50C-407E-A947-70E740481C1C}">
                <a14:useLocalDpi xmlns:a14="http://schemas.microsoft.com/office/drawing/2010/main" val="0"/>
              </a:ext>
            </a:extLst>
          </a:blip>
          <a:srcRect l="15018" r="15018"/>
          <a:stretch/>
        </p:blipFill>
        <p:spPr>
          <a:xfrm>
            <a:off x="4286547" y="3881602"/>
            <a:ext cx="1883643" cy="1495726"/>
          </a:xfrm>
          <a:custGeom>
            <a:avLst/>
            <a:gdLst>
              <a:gd name="connsiteX0" fmla="*/ 0 w 1883643"/>
              <a:gd name="connsiteY0" fmla="*/ 0 h 2103120"/>
              <a:gd name="connsiteX1" fmla="*/ 1883643 w 1883643"/>
              <a:gd name="connsiteY1" fmla="*/ 0 h 2103120"/>
              <a:gd name="connsiteX2" fmla="*/ 1883643 w 1883643"/>
              <a:gd name="connsiteY2" fmla="*/ 2103120 h 2103120"/>
              <a:gd name="connsiteX3" fmla="*/ 0 w 1883643"/>
              <a:gd name="connsiteY3" fmla="*/ 2103120 h 2103120"/>
            </a:gdLst>
            <a:ahLst/>
            <a:cxnLst>
              <a:cxn ang="0">
                <a:pos x="connsiteX0" y="connsiteY0"/>
              </a:cxn>
              <a:cxn ang="0">
                <a:pos x="connsiteX1" y="connsiteY1"/>
              </a:cxn>
              <a:cxn ang="0">
                <a:pos x="connsiteX2" y="connsiteY2"/>
              </a:cxn>
              <a:cxn ang="0">
                <a:pos x="connsiteX3" y="connsiteY3"/>
              </a:cxn>
            </a:cxnLst>
            <a:rect l="l" t="t" r="r" b="b"/>
            <a:pathLst>
              <a:path w="1883643" h="2103120">
                <a:moveTo>
                  <a:pt x="0" y="0"/>
                </a:moveTo>
                <a:lnTo>
                  <a:pt x="1883643" y="0"/>
                </a:lnTo>
                <a:lnTo>
                  <a:pt x="1883643" y="2103120"/>
                </a:lnTo>
                <a:lnTo>
                  <a:pt x="0" y="2103120"/>
                </a:lnTo>
                <a:close/>
              </a:path>
            </a:pathLst>
          </a:custGeom>
        </p:spPr>
      </p:pic>
      <p:sp>
        <p:nvSpPr>
          <p:cNvPr id="13" name="Rectangle 12">
            <a:extLst>
              <a:ext uri="{FF2B5EF4-FFF2-40B4-BE49-F238E27FC236}">
                <a16:creationId xmlns:a16="http://schemas.microsoft.com/office/drawing/2014/main" id="{C1EE75D9-1519-453D-99AB-0131A601C3F9}"/>
              </a:ext>
            </a:extLst>
          </p:cNvPr>
          <p:cNvSpPr/>
          <p:nvPr/>
        </p:nvSpPr>
        <p:spPr bwMode="auto">
          <a:xfrm>
            <a:off x="6238092" y="2971800"/>
            <a:ext cx="1883643" cy="914400"/>
          </a:xfrm>
          <a:prstGeom prst="rect">
            <a:avLst/>
          </a:prstGeom>
          <a:solidFill>
            <a:srgbClr val="243A5E">
              <a:lumMod val="75000"/>
            </a:srgbClr>
          </a:solidFill>
          <a:ln w="6350" cap="flat" cmpd="sng" algn="ctr">
            <a:noFill/>
            <a:prstDash val="solid"/>
            <a:headEnd type="none" w="med" len="med"/>
            <a:tailEnd type="none" w="med" len="med"/>
          </a:ln>
          <a:effectLst/>
        </p:spPr>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Tourism, Theme Parks &amp; Hospitality</a:t>
            </a:r>
          </a:p>
        </p:txBody>
      </p:sp>
      <p:pic>
        <p:nvPicPr>
          <p:cNvPr id="15" name="Picture 14">
            <a:extLst>
              <a:ext uri="{FF2B5EF4-FFF2-40B4-BE49-F238E27FC236}">
                <a16:creationId xmlns:a16="http://schemas.microsoft.com/office/drawing/2014/main" id="{7DC256B0-C24B-457A-B814-124AB8CCECF1}"/>
              </a:ext>
            </a:extLst>
          </p:cNvPr>
          <p:cNvPicPr>
            <a:picLocks noChangeAspect="1"/>
          </p:cNvPicPr>
          <p:nvPr/>
        </p:nvPicPr>
        <p:blipFill rotWithShape="1">
          <a:blip r:embed="rId3">
            <a:extLst>
              <a:ext uri="{28A0092B-C50C-407E-A947-70E740481C1C}">
                <a14:useLocalDpi xmlns:a14="http://schemas.microsoft.com/office/drawing/2010/main" val="0"/>
              </a:ext>
            </a:extLst>
          </a:blip>
          <a:srcRect t="2083" b="2083"/>
          <a:stretch/>
        </p:blipFill>
        <p:spPr>
          <a:xfrm>
            <a:off x="6238093" y="3883901"/>
            <a:ext cx="1883643" cy="1495726"/>
          </a:xfrm>
          <a:custGeom>
            <a:avLst/>
            <a:gdLst>
              <a:gd name="connsiteX0" fmla="*/ 0 w 1883643"/>
              <a:gd name="connsiteY0" fmla="*/ 0 h 2103120"/>
              <a:gd name="connsiteX1" fmla="*/ 1883643 w 1883643"/>
              <a:gd name="connsiteY1" fmla="*/ 0 h 2103120"/>
              <a:gd name="connsiteX2" fmla="*/ 1883643 w 1883643"/>
              <a:gd name="connsiteY2" fmla="*/ 2103120 h 2103120"/>
              <a:gd name="connsiteX3" fmla="*/ 0 w 1883643"/>
              <a:gd name="connsiteY3" fmla="*/ 2103120 h 2103120"/>
            </a:gdLst>
            <a:ahLst/>
            <a:cxnLst>
              <a:cxn ang="0">
                <a:pos x="connsiteX0" y="connsiteY0"/>
              </a:cxn>
              <a:cxn ang="0">
                <a:pos x="connsiteX1" y="connsiteY1"/>
              </a:cxn>
              <a:cxn ang="0">
                <a:pos x="connsiteX2" y="connsiteY2"/>
              </a:cxn>
              <a:cxn ang="0">
                <a:pos x="connsiteX3" y="connsiteY3"/>
              </a:cxn>
            </a:cxnLst>
            <a:rect l="l" t="t" r="r" b="b"/>
            <a:pathLst>
              <a:path w="1883643" h="2103120">
                <a:moveTo>
                  <a:pt x="0" y="0"/>
                </a:moveTo>
                <a:lnTo>
                  <a:pt x="1883643" y="0"/>
                </a:lnTo>
                <a:lnTo>
                  <a:pt x="1883643" y="2103120"/>
                </a:lnTo>
                <a:lnTo>
                  <a:pt x="0" y="2103120"/>
                </a:lnTo>
                <a:close/>
              </a:path>
            </a:pathLst>
          </a:custGeom>
        </p:spPr>
      </p:pic>
      <p:sp>
        <p:nvSpPr>
          <p:cNvPr id="17" name="Rectangle 16">
            <a:extLst>
              <a:ext uri="{FF2B5EF4-FFF2-40B4-BE49-F238E27FC236}">
                <a16:creationId xmlns:a16="http://schemas.microsoft.com/office/drawing/2014/main" id="{7F029499-B4DB-4736-98FC-E31F4C3FAE5C}"/>
              </a:ext>
            </a:extLst>
          </p:cNvPr>
          <p:cNvSpPr/>
          <p:nvPr/>
        </p:nvSpPr>
        <p:spPr bwMode="auto">
          <a:xfrm>
            <a:off x="8183450" y="2967202"/>
            <a:ext cx="1883643" cy="914400"/>
          </a:xfrm>
          <a:prstGeom prst="rect">
            <a:avLst/>
          </a:prstGeom>
          <a:solidFill>
            <a:srgbClr val="243A5E">
              <a:lumMod val="75000"/>
            </a:srgbClr>
          </a:solidFill>
          <a:ln w="6350" cap="flat" cmpd="sng" algn="ctr">
            <a:noFill/>
            <a:prstDash val="solid"/>
            <a:headEnd type="none" w="med" len="med"/>
            <a:tailEnd type="none" w="med" len="med"/>
          </a:ln>
          <a:effectLst/>
        </p:spPr>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Broadcasting, Cable &amp; Satellite, Streaming Services</a:t>
            </a:r>
          </a:p>
        </p:txBody>
      </p:sp>
      <p:pic>
        <p:nvPicPr>
          <p:cNvPr id="19" name="Picture 18">
            <a:extLst>
              <a:ext uri="{FF2B5EF4-FFF2-40B4-BE49-F238E27FC236}">
                <a16:creationId xmlns:a16="http://schemas.microsoft.com/office/drawing/2014/main" id="{639904A5-251F-4374-ACF9-66CBE4F3EF96}"/>
              </a:ext>
            </a:extLst>
          </p:cNvPr>
          <p:cNvPicPr>
            <a:picLocks noChangeAspect="1"/>
          </p:cNvPicPr>
          <p:nvPr/>
        </p:nvPicPr>
        <p:blipFill rotWithShape="1">
          <a:blip r:embed="rId4">
            <a:extLst>
              <a:ext uri="{28A0092B-C50C-407E-A947-70E740481C1C}">
                <a14:useLocalDpi xmlns:a14="http://schemas.microsoft.com/office/drawing/2010/main" val="0"/>
              </a:ext>
            </a:extLst>
          </a:blip>
          <a:srcRect l="5763" r="5763"/>
          <a:stretch/>
        </p:blipFill>
        <p:spPr>
          <a:xfrm>
            <a:off x="8183451" y="3879303"/>
            <a:ext cx="1883643" cy="1495726"/>
          </a:xfrm>
          <a:custGeom>
            <a:avLst/>
            <a:gdLst>
              <a:gd name="connsiteX0" fmla="*/ 0 w 1883643"/>
              <a:gd name="connsiteY0" fmla="*/ 0 h 2103120"/>
              <a:gd name="connsiteX1" fmla="*/ 1883643 w 1883643"/>
              <a:gd name="connsiteY1" fmla="*/ 0 h 2103120"/>
              <a:gd name="connsiteX2" fmla="*/ 1883643 w 1883643"/>
              <a:gd name="connsiteY2" fmla="*/ 2103120 h 2103120"/>
              <a:gd name="connsiteX3" fmla="*/ 0 w 1883643"/>
              <a:gd name="connsiteY3" fmla="*/ 2103120 h 2103120"/>
            </a:gdLst>
            <a:ahLst/>
            <a:cxnLst>
              <a:cxn ang="0">
                <a:pos x="connsiteX0" y="connsiteY0"/>
              </a:cxn>
              <a:cxn ang="0">
                <a:pos x="connsiteX1" y="connsiteY1"/>
              </a:cxn>
              <a:cxn ang="0">
                <a:pos x="connsiteX2" y="connsiteY2"/>
              </a:cxn>
              <a:cxn ang="0">
                <a:pos x="connsiteX3" y="connsiteY3"/>
              </a:cxn>
            </a:cxnLst>
            <a:rect l="l" t="t" r="r" b="b"/>
            <a:pathLst>
              <a:path w="1883643" h="2103120">
                <a:moveTo>
                  <a:pt x="0" y="0"/>
                </a:moveTo>
                <a:lnTo>
                  <a:pt x="1883643" y="0"/>
                </a:lnTo>
                <a:lnTo>
                  <a:pt x="1883643" y="2103120"/>
                </a:lnTo>
                <a:lnTo>
                  <a:pt x="0" y="2103120"/>
                </a:lnTo>
                <a:close/>
              </a:path>
            </a:pathLst>
          </a:custGeom>
        </p:spPr>
      </p:pic>
      <p:sp>
        <p:nvSpPr>
          <p:cNvPr id="21" name="Rectangle 20">
            <a:extLst>
              <a:ext uri="{FF2B5EF4-FFF2-40B4-BE49-F238E27FC236}">
                <a16:creationId xmlns:a16="http://schemas.microsoft.com/office/drawing/2014/main" id="{2C78DA52-407C-4612-A68D-9CC01A32846E}"/>
              </a:ext>
            </a:extLst>
          </p:cNvPr>
          <p:cNvSpPr/>
          <p:nvPr/>
        </p:nvSpPr>
        <p:spPr bwMode="auto">
          <a:xfrm>
            <a:off x="10128807" y="2964903"/>
            <a:ext cx="1888601" cy="914400"/>
          </a:xfrm>
          <a:prstGeom prst="rect">
            <a:avLst/>
          </a:prstGeom>
          <a:solidFill>
            <a:srgbClr val="243A5E">
              <a:lumMod val="75000"/>
            </a:srgbClr>
          </a:solidFill>
          <a:ln w="6350" cap="flat" cmpd="sng" algn="ctr">
            <a:noFill/>
            <a:prstDash val="solid"/>
            <a:headEnd type="none" w="med" len="med"/>
            <a:tailEnd type="none" w="med" len="med"/>
          </a:ln>
          <a:effectLst/>
        </p:spPr>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Content Production Workflows, Storag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Distribution</a:t>
            </a:r>
          </a:p>
        </p:txBody>
      </p:sp>
      <p:pic>
        <p:nvPicPr>
          <p:cNvPr id="23" name="Picture 22">
            <a:extLst>
              <a:ext uri="{FF2B5EF4-FFF2-40B4-BE49-F238E27FC236}">
                <a16:creationId xmlns:a16="http://schemas.microsoft.com/office/drawing/2014/main" id="{47DFFDD9-A7B4-44DA-A0C3-3597A2AC63A1}"/>
              </a:ext>
            </a:extLst>
          </p:cNvPr>
          <p:cNvPicPr>
            <a:picLocks noChangeAspect="1"/>
          </p:cNvPicPr>
          <p:nvPr/>
        </p:nvPicPr>
        <p:blipFill rotWithShape="1">
          <a:blip r:embed="rId5">
            <a:extLst>
              <a:ext uri="{28A0092B-C50C-407E-A947-70E740481C1C}">
                <a14:useLocalDpi xmlns:a14="http://schemas.microsoft.com/office/drawing/2010/main" val="0"/>
              </a:ext>
            </a:extLst>
          </a:blip>
          <a:srcRect l="9680" r="9680"/>
          <a:stretch/>
        </p:blipFill>
        <p:spPr>
          <a:xfrm>
            <a:off x="10133766" y="3877004"/>
            <a:ext cx="1883643" cy="1495726"/>
          </a:xfrm>
          <a:custGeom>
            <a:avLst/>
            <a:gdLst>
              <a:gd name="connsiteX0" fmla="*/ 0 w 1883643"/>
              <a:gd name="connsiteY0" fmla="*/ 0 h 2103120"/>
              <a:gd name="connsiteX1" fmla="*/ 1883643 w 1883643"/>
              <a:gd name="connsiteY1" fmla="*/ 0 h 2103120"/>
              <a:gd name="connsiteX2" fmla="*/ 1883643 w 1883643"/>
              <a:gd name="connsiteY2" fmla="*/ 2103120 h 2103120"/>
              <a:gd name="connsiteX3" fmla="*/ 0 w 1883643"/>
              <a:gd name="connsiteY3" fmla="*/ 2103120 h 2103120"/>
            </a:gdLst>
            <a:ahLst/>
            <a:cxnLst>
              <a:cxn ang="0">
                <a:pos x="connsiteX0" y="connsiteY0"/>
              </a:cxn>
              <a:cxn ang="0">
                <a:pos x="connsiteX1" y="connsiteY1"/>
              </a:cxn>
              <a:cxn ang="0">
                <a:pos x="connsiteX2" y="connsiteY2"/>
              </a:cxn>
              <a:cxn ang="0">
                <a:pos x="connsiteX3" y="connsiteY3"/>
              </a:cxn>
            </a:cxnLst>
            <a:rect l="l" t="t" r="r" b="b"/>
            <a:pathLst>
              <a:path w="1883643" h="2103120">
                <a:moveTo>
                  <a:pt x="0" y="0"/>
                </a:moveTo>
                <a:lnTo>
                  <a:pt x="1883643" y="0"/>
                </a:lnTo>
                <a:lnTo>
                  <a:pt x="1883643" y="2103120"/>
                </a:lnTo>
                <a:lnTo>
                  <a:pt x="0" y="2103120"/>
                </a:lnTo>
                <a:close/>
              </a:path>
            </a:pathLst>
          </a:custGeom>
        </p:spPr>
      </p:pic>
      <p:sp>
        <p:nvSpPr>
          <p:cNvPr id="25" name="Rectangle 24">
            <a:extLst>
              <a:ext uri="{FF2B5EF4-FFF2-40B4-BE49-F238E27FC236}">
                <a16:creationId xmlns:a16="http://schemas.microsoft.com/office/drawing/2014/main" id="{1D62BB5F-B542-493B-B348-F4A949CA7232}"/>
              </a:ext>
            </a:extLst>
          </p:cNvPr>
          <p:cNvSpPr/>
          <p:nvPr/>
        </p:nvSpPr>
        <p:spPr bwMode="auto">
          <a:xfrm>
            <a:off x="2309405" y="2969501"/>
            <a:ext cx="1883643" cy="914400"/>
          </a:xfrm>
          <a:prstGeom prst="rect">
            <a:avLst/>
          </a:prstGeom>
          <a:solidFill>
            <a:srgbClr val="243A5E">
              <a:lumMod val="75000"/>
            </a:srgbClr>
          </a:solidFill>
          <a:ln w="6350" cap="flat" cmpd="sng" algn="ctr">
            <a:noFill/>
            <a:prstDash val="solid"/>
            <a:headEnd type="none" w="med" len="med"/>
            <a:tailEnd type="none" w="med" len="med"/>
          </a:ln>
          <a:effectLst/>
        </p:spPr>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Advertising &amp; Conferences</a:t>
            </a:r>
          </a:p>
        </p:txBody>
      </p:sp>
      <p:pic>
        <p:nvPicPr>
          <p:cNvPr id="1026" name="Picture 2" descr="See the source image">
            <a:extLst>
              <a:ext uri="{FF2B5EF4-FFF2-40B4-BE49-F238E27FC236}">
                <a16:creationId xmlns:a16="http://schemas.microsoft.com/office/drawing/2014/main" id="{0992D53B-7C07-4EDC-9D55-3618D05A0A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6145" y="3877834"/>
            <a:ext cx="1883642" cy="149489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ee the source image">
            <a:extLst>
              <a:ext uri="{FF2B5EF4-FFF2-40B4-BE49-F238E27FC236}">
                <a16:creationId xmlns:a16="http://schemas.microsoft.com/office/drawing/2014/main" id="{D0EA2A93-C040-43CA-9240-D8355F4AE5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11479" y="3883901"/>
            <a:ext cx="1880338" cy="1495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53401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0677996-ABB7-43CC-93B3-4251DC76A36E}"/>
              </a:ext>
            </a:extLst>
          </p:cNvPr>
          <p:cNvSpPr txBox="1"/>
          <p:nvPr/>
        </p:nvSpPr>
        <p:spPr>
          <a:xfrm flipH="1">
            <a:off x="338067" y="133862"/>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ERD – Sports Management</a:t>
            </a:r>
            <a:endParaRPr lang="en-US" sz="2000">
              <a:latin typeface="Segoe UI" panose="020B0502040204020203" pitchFamily="34" charset="0"/>
              <a:cs typeface="Segoe UI" panose="020B0502040204020203" pitchFamily="34" charset="0"/>
            </a:endParaRPr>
          </a:p>
        </p:txBody>
      </p:sp>
      <p:pic>
        <p:nvPicPr>
          <p:cNvPr id="6" name="Picture 5" descr="Diagram, schematic&#10;&#10;Description automatically generated">
            <a:extLst>
              <a:ext uri="{FF2B5EF4-FFF2-40B4-BE49-F238E27FC236}">
                <a16:creationId xmlns:a16="http://schemas.microsoft.com/office/drawing/2014/main" id="{95EAB6F5-A64B-429F-8E65-C307E96C68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3722" y="852755"/>
            <a:ext cx="9452224" cy="5827612"/>
          </a:xfrm>
          <a:prstGeom prst="rect">
            <a:avLst/>
          </a:prstGeom>
        </p:spPr>
      </p:pic>
    </p:spTree>
    <p:extLst>
      <p:ext uri="{BB962C8B-B14F-4D97-AF65-F5344CB8AC3E}">
        <p14:creationId xmlns:p14="http://schemas.microsoft.com/office/powerpoint/2010/main" val="27812726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0677996-ABB7-43CC-93B3-4251DC76A36E}"/>
              </a:ext>
            </a:extLst>
          </p:cNvPr>
          <p:cNvSpPr txBox="1"/>
          <p:nvPr/>
        </p:nvSpPr>
        <p:spPr>
          <a:xfrm flipH="1">
            <a:off x="338067" y="133862"/>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ERD – Media Events &amp; Venues</a:t>
            </a:r>
            <a:endParaRPr lang="en-US" sz="2000">
              <a:latin typeface="Segoe UI" panose="020B0502040204020203" pitchFamily="34" charset="0"/>
              <a:cs typeface="Segoe UI" panose="020B0502040204020203" pitchFamily="34" charset="0"/>
            </a:endParaRPr>
          </a:p>
        </p:txBody>
      </p:sp>
      <p:pic>
        <p:nvPicPr>
          <p:cNvPr id="3" name="Picture 2" descr="Diagram, schematic&#10;&#10;Description automatically generated">
            <a:extLst>
              <a:ext uri="{FF2B5EF4-FFF2-40B4-BE49-F238E27FC236}">
                <a16:creationId xmlns:a16="http://schemas.microsoft.com/office/drawing/2014/main" id="{7628BBA4-2C58-4FFE-A409-E6B3D0640A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6044" y="1047964"/>
            <a:ext cx="10243335" cy="5599416"/>
          </a:xfrm>
          <a:prstGeom prst="rect">
            <a:avLst/>
          </a:prstGeom>
        </p:spPr>
      </p:pic>
    </p:spTree>
    <p:extLst>
      <p:ext uri="{BB962C8B-B14F-4D97-AF65-F5344CB8AC3E}">
        <p14:creationId xmlns:p14="http://schemas.microsoft.com/office/powerpoint/2010/main" val="35687877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0677996-ABB7-43CC-93B3-4251DC76A36E}"/>
              </a:ext>
            </a:extLst>
          </p:cNvPr>
          <p:cNvSpPr txBox="1"/>
          <p:nvPr/>
        </p:nvSpPr>
        <p:spPr>
          <a:xfrm flipH="1">
            <a:off x="338067" y="133862"/>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ERD – Ad Sales</a:t>
            </a:r>
            <a:endParaRPr lang="en-US" sz="2000">
              <a:latin typeface="Segoe UI" panose="020B0502040204020203" pitchFamily="34" charset="0"/>
              <a:cs typeface="Segoe UI" panose="020B0502040204020203" pitchFamily="34" charset="0"/>
            </a:endParaRPr>
          </a:p>
        </p:txBody>
      </p:sp>
      <p:pic>
        <p:nvPicPr>
          <p:cNvPr id="6" name="Picture 5" descr="Diagram, schematic&#10;&#10;Description automatically generated">
            <a:extLst>
              <a:ext uri="{FF2B5EF4-FFF2-40B4-BE49-F238E27FC236}">
                <a16:creationId xmlns:a16="http://schemas.microsoft.com/office/drawing/2014/main" id="{8F907551-2BED-47CB-B4DE-7579B50F97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8067" y="731520"/>
            <a:ext cx="11058245" cy="5447900"/>
          </a:xfrm>
          <a:prstGeom prst="rect">
            <a:avLst/>
          </a:prstGeom>
        </p:spPr>
      </p:pic>
    </p:spTree>
    <p:extLst>
      <p:ext uri="{BB962C8B-B14F-4D97-AF65-F5344CB8AC3E}">
        <p14:creationId xmlns:p14="http://schemas.microsoft.com/office/powerpoint/2010/main" val="40640430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3">
            <a:extLst>
              <a:ext uri="{FF2B5EF4-FFF2-40B4-BE49-F238E27FC236}">
                <a16:creationId xmlns:a16="http://schemas.microsoft.com/office/drawing/2014/main" id="{19AB4516-FD1F-4AD4-AA3A-9395F8B7A1F9}"/>
              </a:ext>
            </a:extLst>
          </p:cNvPr>
          <p:cNvSpPr>
            <a:spLocks noGrp="1"/>
          </p:cNvSpPr>
          <p:nvPr>
            <p:ph type="title"/>
          </p:nvPr>
        </p:nvSpPr>
        <p:spPr>
          <a:xfrm>
            <a:off x="1314824" y="735106"/>
            <a:ext cx="10053763" cy="2928470"/>
          </a:xfrm>
        </p:spPr>
        <p:txBody>
          <a:bodyPr vert="horz" lIns="91440" tIns="45720" rIns="91440" bIns="45720" rtlCol="0" anchor="b">
            <a:normAutofit/>
          </a:bodyPr>
          <a:lstStyle/>
          <a:p>
            <a:r>
              <a:rPr lang="en-US" sz="4800" b="1" kern="1200" spc="-50">
                <a:solidFill>
                  <a:srgbClr val="FFFFFF"/>
                </a:solidFill>
                <a:latin typeface="+mj-lt"/>
                <a:ea typeface="+mj-ea"/>
                <a:cs typeface="+mj-cs"/>
              </a:rPr>
              <a:t>Content </a:t>
            </a:r>
            <a:r>
              <a:rPr lang="en-US" sz="4800" b="1" spc="-50">
                <a:solidFill>
                  <a:srgbClr val="FFFFFF"/>
                </a:solidFill>
              </a:rPr>
              <a:t>Production Solution (Upcoming)</a:t>
            </a:r>
            <a:endParaRPr lang="en-US" sz="4800" kern="1200">
              <a:solidFill>
                <a:srgbClr val="FFFFFF"/>
              </a:solidFill>
              <a:latin typeface="+mj-lt"/>
              <a:ea typeface="+mj-ea"/>
              <a:cs typeface="+mj-cs"/>
            </a:endParaRPr>
          </a:p>
        </p:txBody>
      </p:sp>
      <p:sp>
        <p:nvSpPr>
          <p:cNvPr id="5" name="Text Placeholder 4">
            <a:extLst>
              <a:ext uri="{FF2B5EF4-FFF2-40B4-BE49-F238E27FC236}">
                <a16:creationId xmlns:a16="http://schemas.microsoft.com/office/drawing/2014/main" id="{2888D0F9-982E-41FC-950B-A13CB0DBEF9C}"/>
              </a:ext>
            </a:extLst>
          </p:cNvPr>
          <p:cNvSpPr>
            <a:spLocks noGrp="1"/>
          </p:cNvSpPr>
          <p:nvPr>
            <p:ph type="body" idx="1"/>
          </p:nvPr>
        </p:nvSpPr>
        <p:spPr>
          <a:xfrm>
            <a:off x="1350682" y="4870824"/>
            <a:ext cx="10005951" cy="1458258"/>
          </a:xfrm>
        </p:spPr>
        <p:txBody>
          <a:bodyPr vert="horz" lIns="91440" tIns="45720" rIns="91440" bIns="45720" rtlCol="0" anchor="ctr">
            <a:normAutofit/>
          </a:bodyPr>
          <a:lstStyle/>
          <a:p>
            <a:r>
              <a:rPr lang="en-US">
                <a:solidFill>
                  <a:schemeClr val="tx1"/>
                </a:solidFill>
                <a:cs typeface="Calibri"/>
              </a:rPr>
              <a:t>Driving apps that help manage the workflows and data from the production pipeline, from pre-production and creative planning through asset distribution. </a:t>
            </a:r>
            <a:endParaRPr lang="en-US" sz="2400" kern="1200">
              <a:solidFill>
                <a:schemeClr val="tx1"/>
              </a:solidFill>
              <a:latin typeface="+mn-lt"/>
              <a:ea typeface="+mn-ea"/>
              <a:cs typeface="+mn-cs"/>
            </a:endParaRPr>
          </a:p>
        </p:txBody>
      </p:sp>
    </p:spTree>
    <p:extLst>
      <p:ext uri="{BB962C8B-B14F-4D97-AF65-F5344CB8AC3E}">
        <p14:creationId xmlns:p14="http://schemas.microsoft.com/office/powerpoint/2010/main" val="1108196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D1051BB-FFC0-4EFD-BEA1-74C475C9EF07}"/>
              </a:ext>
            </a:extLst>
          </p:cNvPr>
          <p:cNvSpPr txBox="1"/>
          <p:nvPr/>
        </p:nvSpPr>
        <p:spPr>
          <a:xfrm flipH="1">
            <a:off x="348341" y="260101"/>
            <a:ext cx="8325395" cy="830997"/>
          </a:xfrm>
          <a:prstGeom prst="rect">
            <a:avLst/>
          </a:prstGeom>
          <a:noFill/>
        </p:spPr>
        <p:txBody>
          <a:bodyPr wrap="square" lIns="91440" tIns="45720" rIns="91440" bIns="45720" rtlCol="0" anchor="t">
            <a:spAutoFit/>
          </a:bodyPr>
          <a:lstStyle/>
          <a:p>
            <a:r>
              <a:rPr lang="en-US" sz="2800" b="1" spc="-50">
                <a:latin typeface="Segoe UI Semibold"/>
                <a:ea typeface="+mj-ea"/>
                <a:cs typeface="Segoe UI Semibold"/>
              </a:rPr>
              <a:t>Media Content Production Management Solution</a:t>
            </a:r>
            <a:endParaRPr lang="en-US" sz="2800" b="1" spc="-50">
              <a:solidFill>
                <a:prstClr val="black"/>
              </a:solidFill>
              <a:latin typeface="Segoe UI Semibold" panose="020B0502040204020203" pitchFamily="34" charset="0"/>
              <a:ea typeface="+mj-ea"/>
              <a:cs typeface="Segoe UI Semibold" panose="020B0502040204020203" pitchFamily="34" charset="0"/>
            </a:endParaRPr>
          </a:p>
          <a:p>
            <a:r>
              <a:rPr lang="en-US" sz="2000">
                <a:latin typeface="Segoe UI"/>
                <a:cs typeface="Segoe UI"/>
              </a:rPr>
              <a:t>Packaging &amp; Layering</a:t>
            </a:r>
          </a:p>
        </p:txBody>
      </p:sp>
      <p:grpSp>
        <p:nvGrpSpPr>
          <p:cNvPr id="6" name="Group 5">
            <a:extLst>
              <a:ext uri="{FF2B5EF4-FFF2-40B4-BE49-F238E27FC236}">
                <a16:creationId xmlns:a16="http://schemas.microsoft.com/office/drawing/2014/main" id="{10D9362E-45DF-4D4D-B083-8AC4B8D8E751}"/>
              </a:ext>
            </a:extLst>
          </p:cNvPr>
          <p:cNvGrpSpPr/>
          <p:nvPr/>
        </p:nvGrpSpPr>
        <p:grpSpPr>
          <a:xfrm>
            <a:off x="1325047" y="2030488"/>
            <a:ext cx="9130940" cy="2550000"/>
            <a:chOff x="1530522" y="2741354"/>
            <a:chExt cx="9130940" cy="2550000"/>
          </a:xfrm>
        </p:grpSpPr>
        <p:sp>
          <p:nvSpPr>
            <p:cNvPr id="7" name="Rectangle 6">
              <a:extLst>
                <a:ext uri="{FF2B5EF4-FFF2-40B4-BE49-F238E27FC236}">
                  <a16:creationId xmlns:a16="http://schemas.microsoft.com/office/drawing/2014/main" id="{17309375-DE54-471F-A572-D70794A152E3}"/>
                </a:ext>
              </a:extLst>
            </p:cNvPr>
            <p:cNvSpPr/>
            <p:nvPr/>
          </p:nvSpPr>
          <p:spPr>
            <a:xfrm>
              <a:off x="1530525" y="4758107"/>
              <a:ext cx="9130937" cy="53324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atin typeface="Segoe UI" panose="020B0502040204020203" pitchFamily="34" charset="0"/>
                  <a:cs typeface="Segoe UI" panose="020B0502040204020203" pitchFamily="34" charset="0"/>
                </a:rPr>
                <a:t>Microsoft Dataverse</a:t>
              </a:r>
            </a:p>
          </p:txBody>
        </p:sp>
        <p:sp>
          <p:nvSpPr>
            <p:cNvPr id="8" name="Rectangle 7">
              <a:extLst>
                <a:ext uri="{FF2B5EF4-FFF2-40B4-BE49-F238E27FC236}">
                  <a16:creationId xmlns:a16="http://schemas.microsoft.com/office/drawing/2014/main" id="{4433029D-84A6-4FBE-94EE-179571747228}"/>
                </a:ext>
              </a:extLst>
            </p:cNvPr>
            <p:cNvSpPr/>
            <p:nvPr/>
          </p:nvSpPr>
          <p:spPr>
            <a:xfrm>
              <a:off x="1530525" y="4080824"/>
              <a:ext cx="9130937" cy="5332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panose="020B0502040204020203" pitchFamily="34" charset="0"/>
                  <a:cs typeface="Segoe UI" panose="020B0502040204020203" pitchFamily="34" charset="0"/>
                </a:rPr>
                <a:t>Media Asset CDM</a:t>
              </a:r>
            </a:p>
          </p:txBody>
        </p:sp>
        <p:sp>
          <p:nvSpPr>
            <p:cNvPr id="9" name="Rectangle 8">
              <a:extLst>
                <a:ext uri="{FF2B5EF4-FFF2-40B4-BE49-F238E27FC236}">
                  <a16:creationId xmlns:a16="http://schemas.microsoft.com/office/drawing/2014/main" id="{4BAD165A-0729-4598-9BFA-788A083B394C}"/>
                </a:ext>
              </a:extLst>
            </p:cNvPr>
            <p:cNvSpPr/>
            <p:nvPr/>
          </p:nvSpPr>
          <p:spPr>
            <a:xfrm>
              <a:off x="1530522" y="3399401"/>
              <a:ext cx="9130937" cy="5332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panose="020B0502040204020203" pitchFamily="34" charset="0"/>
                  <a:cs typeface="Segoe UI" panose="020B0502040204020203" pitchFamily="34" charset="0"/>
                </a:rPr>
                <a:t>Media Content Production CDM</a:t>
              </a:r>
            </a:p>
          </p:txBody>
        </p:sp>
        <p:sp>
          <p:nvSpPr>
            <p:cNvPr id="10" name="Rectangle 9">
              <a:extLst>
                <a:ext uri="{FF2B5EF4-FFF2-40B4-BE49-F238E27FC236}">
                  <a16:creationId xmlns:a16="http://schemas.microsoft.com/office/drawing/2014/main" id="{387080D3-CF7C-49F1-AA2B-2BC3A3237294}"/>
                </a:ext>
              </a:extLst>
            </p:cNvPr>
            <p:cNvSpPr/>
            <p:nvPr/>
          </p:nvSpPr>
          <p:spPr>
            <a:xfrm>
              <a:off x="1530522" y="2741354"/>
              <a:ext cx="9130937" cy="5332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Segoe UI" panose="020B0502040204020203" pitchFamily="34" charset="0"/>
                  <a:cs typeface="Segoe UI" panose="020B0502040204020203" pitchFamily="34" charset="0"/>
                </a:rPr>
                <a:t>Media Content Production Apps</a:t>
              </a:r>
            </a:p>
          </p:txBody>
        </p:sp>
      </p:grpSp>
      <p:grpSp>
        <p:nvGrpSpPr>
          <p:cNvPr id="11" name="Group 10">
            <a:extLst>
              <a:ext uri="{FF2B5EF4-FFF2-40B4-BE49-F238E27FC236}">
                <a16:creationId xmlns:a16="http://schemas.microsoft.com/office/drawing/2014/main" id="{41A9DF1F-C957-4218-A6FB-B8C950085F45}"/>
              </a:ext>
            </a:extLst>
          </p:cNvPr>
          <p:cNvGrpSpPr/>
          <p:nvPr/>
        </p:nvGrpSpPr>
        <p:grpSpPr>
          <a:xfrm>
            <a:off x="348341" y="5519878"/>
            <a:ext cx="5530107" cy="880959"/>
            <a:chOff x="348341" y="5834443"/>
            <a:chExt cx="5530107" cy="880959"/>
          </a:xfrm>
        </p:grpSpPr>
        <p:sp>
          <p:nvSpPr>
            <p:cNvPr id="12" name="Rectangle 11">
              <a:extLst>
                <a:ext uri="{FF2B5EF4-FFF2-40B4-BE49-F238E27FC236}">
                  <a16:creationId xmlns:a16="http://schemas.microsoft.com/office/drawing/2014/main" id="{85B6A727-4807-4520-83C4-4CE8AD3009B0}"/>
                </a:ext>
              </a:extLst>
            </p:cNvPr>
            <p:cNvSpPr/>
            <p:nvPr/>
          </p:nvSpPr>
          <p:spPr>
            <a:xfrm>
              <a:off x="348341" y="5840035"/>
              <a:ext cx="333428" cy="3637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D1F144C8-BB8D-40F3-A1B3-CDD4C06A8969}"/>
                </a:ext>
              </a:extLst>
            </p:cNvPr>
            <p:cNvSpPr/>
            <p:nvPr/>
          </p:nvSpPr>
          <p:spPr>
            <a:xfrm>
              <a:off x="348341" y="6346070"/>
              <a:ext cx="333428" cy="36374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E0317429-B61F-4B84-A3CB-117A02BC9942}"/>
                </a:ext>
              </a:extLst>
            </p:cNvPr>
            <p:cNvSpPr txBox="1"/>
            <p:nvPr/>
          </p:nvSpPr>
          <p:spPr>
            <a:xfrm>
              <a:off x="681769" y="5834443"/>
              <a:ext cx="4408579" cy="369332"/>
            </a:xfrm>
            <a:prstGeom prst="rect">
              <a:avLst/>
            </a:prstGeom>
            <a:noFill/>
          </p:spPr>
          <p:txBody>
            <a:bodyPr wrap="none" rtlCol="0">
              <a:spAutoFit/>
            </a:bodyPr>
            <a:lstStyle/>
            <a:p>
              <a:r>
                <a:rPr lang="en-US">
                  <a:latin typeface="Segoe UI" panose="020B0502040204020203" pitchFamily="34" charset="0"/>
                  <a:cs typeface="Segoe UI" panose="020B0502040204020203" pitchFamily="34" charset="0"/>
                </a:rPr>
                <a:t>Media Accelerator Component Solutions</a:t>
              </a:r>
            </a:p>
          </p:txBody>
        </p:sp>
        <p:sp>
          <p:nvSpPr>
            <p:cNvPr id="15" name="TextBox 14">
              <a:extLst>
                <a:ext uri="{FF2B5EF4-FFF2-40B4-BE49-F238E27FC236}">
                  <a16:creationId xmlns:a16="http://schemas.microsoft.com/office/drawing/2014/main" id="{31AE228A-2A9E-4496-9003-FC10B8440181}"/>
                </a:ext>
              </a:extLst>
            </p:cNvPr>
            <p:cNvSpPr txBox="1"/>
            <p:nvPr/>
          </p:nvSpPr>
          <p:spPr>
            <a:xfrm>
              <a:off x="681769" y="6346070"/>
              <a:ext cx="5196679" cy="369332"/>
            </a:xfrm>
            <a:prstGeom prst="rect">
              <a:avLst/>
            </a:prstGeom>
            <a:noFill/>
          </p:spPr>
          <p:txBody>
            <a:bodyPr wrap="none" rtlCol="0">
              <a:spAutoFit/>
            </a:bodyPr>
            <a:lstStyle/>
            <a:p>
              <a:r>
                <a:rPr lang="en-US">
                  <a:latin typeface="Segoe UI" panose="020B0502040204020203" pitchFamily="34" charset="0"/>
                  <a:cs typeface="Segoe UI" panose="020B0502040204020203" pitchFamily="34" charset="0"/>
                </a:rPr>
                <a:t>Existing Microsoft 1</a:t>
              </a:r>
              <a:r>
                <a:rPr lang="en-US" baseline="30000">
                  <a:latin typeface="Segoe UI" panose="020B0502040204020203" pitchFamily="34" charset="0"/>
                  <a:cs typeface="Segoe UI" panose="020B0502040204020203" pitchFamily="34" charset="0"/>
                </a:rPr>
                <a:t>st</a:t>
              </a:r>
              <a:r>
                <a:rPr lang="en-US">
                  <a:latin typeface="Segoe UI" panose="020B0502040204020203" pitchFamily="34" charset="0"/>
                  <a:cs typeface="Segoe UI" panose="020B0502040204020203" pitchFamily="34" charset="0"/>
                </a:rPr>
                <a:t> Party Applications Solutions</a:t>
              </a:r>
            </a:p>
          </p:txBody>
        </p:sp>
      </p:grpSp>
    </p:spTree>
    <p:extLst>
      <p:ext uri="{BB962C8B-B14F-4D97-AF65-F5344CB8AC3E}">
        <p14:creationId xmlns:p14="http://schemas.microsoft.com/office/powerpoint/2010/main" val="31980154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9710061-F1A4-4130-9303-247FD83C9308}"/>
              </a:ext>
            </a:extLst>
          </p:cNvPr>
          <p:cNvSpPr txBox="1"/>
          <p:nvPr/>
        </p:nvSpPr>
        <p:spPr>
          <a:xfrm flipH="1">
            <a:off x="348341" y="457163"/>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Asset CDM -&gt; Primary Tables</a:t>
            </a:r>
          </a:p>
        </p:txBody>
      </p:sp>
      <p:sp>
        <p:nvSpPr>
          <p:cNvPr id="6" name="Arrow: Right 5">
            <a:extLst>
              <a:ext uri="{FF2B5EF4-FFF2-40B4-BE49-F238E27FC236}">
                <a16:creationId xmlns:a16="http://schemas.microsoft.com/office/drawing/2014/main" id="{7E56D710-675C-4B56-93C3-027B9B5752F2}"/>
              </a:ext>
            </a:extLst>
          </p:cNvPr>
          <p:cNvSpPr/>
          <p:nvPr/>
        </p:nvSpPr>
        <p:spPr>
          <a:xfrm>
            <a:off x="5698997" y="3340260"/>
            <a:ext cx="978408" cy="484632"/>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3FECE3F6-CA73-4957-A6E4-433EE9B06BE0}"/>
              </a:ext>
            </a:extLst>
          </p:cNvPr>
          <p:cNvGrpSpPr/>
          <p:nvPr/>
        </p:nvGrpSpPr>
        <p:grpSpPr>
          <a:xfrm>
            <a:off x="1530530" y="2239766"/>
            <a:ext cx="3984067" cy="2105992"/>
            <a:chOff x="1530522" y="2630442"/>
            <a:chExt cx="9130940" cy="2660912"/>
          </a:xfrm>
        </p:grpSpPr>
        <p:sp>
          <p:nvSpPr>
            <p:cNvPr id="8" name="Rectangle 7">
              <a:extLst>
                <a:ext uri="{FF2B5EF4-FFF2-40B4-BE49-F238E27FC236}">
                  <a16:creationId xmlns:a16="http://schemas.microsoft.com/office/drawing/2014/main" id="{424A2275-3E5A-4692-96DE-6A17749D6E2B}"/>
                </a:ext>
              </a:extLst>
            </p:cNvPr>
            <p:cNvSpPr/>
            <p:nvPr/>
          </p:nvSpPr>
          <p:spPr>
            <a:xfrm>
              <a:off x="1530525" y="4758107"/>
              <a:ext cx="9130937" cy="533247"/>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a:t>
              </a:r>
              <a:r>
                <a:rPr lang="en-US" sz="800">
                  <a:solidFill>
                    <a:schemeClr val="tx1"/>
                  </a:solidFill>
                  <a:latin typeface="Segoe UI" panose="020B0502040204020203" pitchFamily="34" charset="0"/>
                  <a:cs typeface="Segoe UI" panose="020B0502040204020203" pitchFamily="34" charset="0"/>
                </a:rPr>
                <a:t> </a:t>
              </a:r>
              <a:r>
                <a:rPr lang="en-US" sz="1400">
                  <a:solidFill>
                    <a:schemeClr val="tx1"/>
                  </a:solidFill>
                  <a:latin typeface="Segoe UI" panose="020B0502040204020203" pitchFamily="34" charset="0"/>
                  <a:cs typeface="Segoe UI" panose="020B0502040204020203" pitchFamily="34" charset="0"/>
                </a:rPr>
                <a:t>Dataverse</a:t>
              </a:r>
            </a:p>
          </p:txBody>
        </p:sp>
        <p:sp>
          <p:nvSpPr>
            <p:cNvPr id="9" name="Rectangle 8">
              <a:extLst>
                <a:ext uri="{FF2B5EF4-FFF2-40B4-BE49-F238E27FC236}">
                  <a16:creationId xmlns:a16="http://schemas.microsoft.com/office/drawing/2014/main" id="{C97D61D3-BD0C-4E9F-BDD2-AFE7DDED3F69}"/>
                </a:ext>
              </a:extLst>
            </p:cNvPr>
            <p:cNvSpPr/>
            <p:nvPr/>
          </p:nvSpPr>
          <p:spPr>
            <a:xfrm>
              <a:off x="1530524" y="4092879"/>
              <a:ext cx="9130938" cy="5332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Segoe UI" panose="020B0502040204020203" pitchFamily="34" charset="0"/>
                  <a:cs typeface="Segoe UI" panose="020B0502040204020203" pitchFamily="34" charset="0"/>
                </a:rPr>
                <a:t>Media</a:t>
              </a:r>
              <a:r>
                <a:rPr lang="en-US" sz="800">
                  <a:solidFill>
                    <a:schemeClr val="bg1"/>
                  </a:solidFill>
                  <a:latin typeface="Segoe UI" panose="020B0502040204020203" pitchFamily="34" charset="0"/>
                  <a:cs typeface="Segoe UI" panose="020B0502040204020203" pitchFamily="34" charset="0"/>
                </a:rPr>
                <a:t> </a:t>
              </a:r>
              <a:r>
                <a:rPr lang="en-US" sz="1400">
                  <a:solidFill>
                    <a:schemeClr val="bg1"/>
                  </a:solidFill>
                  <a:latin typeface="Segoe UI" panose="020B0502040204020203" pitchFamily="34" charset="0"/>
                  <a:cs typeface="Segoe UI" panose="020B0502040204020203" pitchFamily="34" charset="0"/>
                </a:rPr>
                <a:t>Asset</a:t>
              </a:r>
              <a:r>
                <a:rPr lang="en-US" sz="800">
                  <a:solidFill>
                    <a:schemeClr val="bg1"/>
                  </a:solidFill>
                  <a:latin typeface="Segoe UI" panose="020B0502040204020203" pitchFamily="34" charset="0"/>
                  <a:cs typeface="Segoe UI" panose="020B0502040204020203" pitchFamily="34" charset="0"/>
                </a:rPr>
                <a:t> </a:t>
              </a:r>
              <a:r>
                <a:rPr lang="en-US" sz="1400">
                  <a:solidFill>
                    <a:schemeClr val="bg1"/>
                  </a:solidFill>
                  <a:latin typeface="Segoe UI" panose="020B0502040204020203" pitchFamily="34" charset="0"/>
                  <a:cs typeface="Segoe UI" panose="020B0502040204020203" pitchFamily="34" charset="0"/>
                </a:rPr>
                <a:t>CDM</a:t>
              </a:r>
            </a:p>
          </p:txBody>
        </p:sp>
        <p:sp>
          <p:nvSpPr>
            <p:cNvPr id="10" name="Rectangle 9">
              <a:extLst>
                <a:ext uri="{FF2B5EF4-FFF2-40B4-BE49-F238E27FC236}">
                  <a16:creationId xmlns:a16="http://schemas.microsoft.com/office/drawing/2014/main" id="{3137728B-B6FA-462B-BE76-72637452AAFF}"/>
                </a:ext>
              </a:extLst>
            </p:cNvPr>
            <p:cNvSpPr/>
            <p:nvPr/>
          </p:nvSpPr>
          <p:spPr>
            <a:xfrm>
              <a:off x="1530522" y="3427651"/>
              <a:ext cx="9130938" cy="53324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ntent Production CDM</a:t>
              </a:r>
            </a:p>
          </p:txBody>
        </p:sp>
        <p:sp>
          <p:nvSpPr>
            <p:cNvPr id="11" name="Rectangle 10">
              <a:extLst>
                <a:ext uri="{FF2B5EF4-FFF2-40B4-BE49-F238E27FC236}">
                  <a16:creationId xmlns:a16="http://schemas.microsoft.com/office/drawing/2014/main" id="{BFAC00E5-AD82-427D-9D0C-3842AA5D7270}"/>
                </a:ext>
              </a:extLst>
            </p:cNvPr>
            <p:cNvSpPr/>
            <p:nvPr/>
          </p:nvSpPr>
          <p:spPr>
            <a:xfrm>
              <a:off x="1530522" y="2630442"/>
              <a:ext cx="9130938" cy="665228"/>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ntent Production Apps</a:t>
              </a:r>
            </a:p>
          </p:txBody>
        </p:sp>
      </p:grpSp>
      <p:graphicFrame>
        <p:nvGraphicFramePr>
          <p:cNvPr id="12" name="Table 35">
            <a:extLst>
              <a:ext uri="{FF2B5EF4-FFF2-40B4-BE49-F238E27FC236}">
                <a16:creationId xmlns:a16="http://schemas.microsoft.com/office/drawing/2014/main" id="{C7B6A1C5-CD8C-4380-A6B9-2306B5538368}"/>
              </a:ext>
            </a:extLst>
          </p:cNvPr>
          <p:cNvGraphicFramePr>
            <a:graphicFrameLocks noGrp="1"/>
          </p:cNvGraphicFramePr>
          <p:nvPr>
            <p:extLst>
              <p:ext uri="{D42A27DB-BD31-4B8C-83A1-F6EECF244321}">
                <p14:modId xmlns:p14="http://schemas.microsoft.com/office/powerpoint/2010/main" val="3575335939"/>
              </p:ext>
            </p:extLst>
          </p:nvPr>
        </p:nvGraphicFramePr>
        <p:xfrm>
          <a:off x="6903978" y="3081741"/>
          <a:ext cx="3757491" cy="914400"/>
        </p:xfrm>
        <a:graphic>
          <a:graphicData uri="http://schemas.openxmlformats.org/drawingml/2006/table">
            <a:tbl>
              <a:tblPr firstRow="1" bandRow="1">
                <a:tableStyleId>{B301B821-A1FF-4177-AEE7-76D212191A09}</a:tableStyleId>
              </a:tblPr>
              <a:tblGrid>
                <a:gridCol w="3757491">
                  <a:extLst>
                    <a:ext uri="{9D8B030D-6E8A-4147-A177-3AD203B41FA5}">
                      <a16:colId xmlns:a16="http://schemas.microsoft.com/office/drawing/2014/main" val="832068167"/>
                    </a:ext>
                  </a:extLst>
                </a:gridCol>
              </a:tblGrid>
              <a:tr h="299134">
                <a:tc>
                  <a:txBody>
                    <a:bodyPr/>
                    <a:lstStyle/>
                    <a:p>
                      <a:r>
                        <a:rPr lang="en-US" sz="1400"/>
                        <a:t>Table Name</a:t>
                      </a:r>
                    </a:p>
                  </a:txBody>
                  <a:tcPr/>
                </a:tc>
                <a:extLst>
                  <a:ext uri="{0D108BD9-81ED-4DB2-BD59-A6C34878D82A}">
                    <a16:rowId xmlns:a16="http://schemas.microsoft.com/office/drawing/2014/main" val="897896226"/>
                  </a:ext>
                </a:extLst>
              </a:tr>
              <a:tr h="299134">
                <a:tc>
                  <a:txBody>
                    <a:bodyPr/>
                    <a:lstStyle/>
                    <a:p>
                      <a:r>
                        <a:rPr lang="en-US" sz="1400"/>
                        <a:t>Asset</a:t>
                      </a:r>
                    </a:p>
                  </a:txBody>
                  <a:tcPr/>
                </a:tc>
                <a:extLst>
                  <a:ext uri="{0D108BD9-81ED-4DB2-BD59-A6C34878D82A}">
                    <a16:rowId xmlns:a16="http://schemas.microsoft.com/office/drawing/2014/main" val="3982220006"/>
                  </a:ext>
                </a:extLst>
              </a:tr>
              <a:tr h="299134">
                <a:tc>
                  <a:txBody>
                    <a:bodyPr/>
                    <a:lstStyle/>
                    <a:p>
                      <a:r>
                        <a:rPr lang="en-US" sz="1400"/>
                        <a:t>Media Asset Category</a:t>
                      </a:r>
                    </a:p>
                  </a:txBody>
                  <a:tcPr/>
                </a:tc>
                <a:extLst>
                  <a:ext uri="{0D108BD9-81ED-4DB2-BD59-A6C34878D82A}">
                    <a16:rowId xmlns:a16="http://schemas.microsoft.com/office/drawing/2014/main" val="1759566007"/>
                  </a:ext>
                </a:extLst>
              </a:tr>
            </a:tbl>
          </a:graphicData>
        </a:graphic>
      </p:graphicFrame>
    </p:spTree>
    <p:extLst>
      <p:ext uri="{BB962C8B-B14F-4D97-AF65-F5344CB8AC3E}">
        <p14:creationId xmlns:p14="http://schemas.microsoft.com/office/powerpoint/2010/main" val="14904123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ACE43E4-B830-4938-8C07-F2D4C24FD6CE}"/>
              </a:ext>
            </a:extLst>
          </p:cNvPr>
          <p:cNvSpPr txBox="1"/>
          <p:nvPr/>
        </p:nvSpPr>
        <p:spPr>
          <a:xfrm flipH="1">
            <a:off x="370783" y="210583"/>
            <a:ext cx="8325395"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Content Production CDM -&gt; Primary Tables</a:t>
            </a:r>
          </a:p>
        </p:txBody>
      </p:sp>
      <p:sp>
        <p:nvSpPr>
          <p:cNvPr id="6" name="Arrow: Right 5">
            <a:extLst>
              <a:ext uri="{FF2B5EF4-FFF2-40B4-BE49-F238E27FC236}">
                <a16:creationId xmlns:a16="http://schemas.microsoft.com/office/drawing/2014/main" id="{12F6CE97-3662-4210-A19B-EBB484D351C2}"/>
              </a:ext>
            </a:extLst>
          </p:cNvPr>
          <p:cNvSpPr/>
          <p:nvPr/>
        </p:nvSpPr>
        <p:spPr>
          <a:xfrm>
            <a:off x="5698997" y="3120204"/>
            <a:ext cx="978408" cy="484632"/>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35">
            <a:extLst>
              <a:ext uri="{FF2B5EF4-FFF2-40B4-BE49-F238E27FC236}">
                <a16:creationId xmlns:a16="http://schemas.microsoft.com/office/drawing/2014/main" id="{4E28B77D-3863-44D1-B830-BB1BFECE7A7E}"/>
              </a:ext>
            </a:extLst>
          </p:cNvPr>
          <p:cNvGraphicFramePr>
            <a:graphicFrameLocks noGrp="1"/>
          </p:cNvGraphicFramePr>
          <p:nvPr>
            <p:extLst>
              <p:ext uri="{D42A27DB-BD31-4B8C-83A1-F6EECF244321}">
                <p14:modId xmlns:p14="http://schemas.microsoft.com/office/powerpoint/2010/main" val="718056092"/>
              </p:ext>
            </p:extLst>
          </p:nvPr>
        </p:nvGraphicFramePr>
        <p:xfrm>
          <a:off x="6971545" y="1651240"/>
          <a:ext cx="3757491" cy="3962400"/>
        </p:xfrm>
        <a:graphic>
          <a:graphicData uri="http://schemas.openxmlformats.org/drawingml/2006/table">
            <a:tbl>
              <a:tblPr firstRow="1" bandRow="1">
                <a:tableStyleId>{B301B821-A1FF-4177-AEE7-76D212191A09}</a:tableStyleId>
              </a:tblPr>
              <a:tblGrid>
                <a:gridCol w="3757491">
                  <a:extLst>
                    <a:ext uri="{9D8B030D-6E8A-4147-A177-3AD203B41FA5}">
                      <a16:colId xmlns:a16="http://schemas.microsoft.com/office/drawing/2014/main" val="832068167"/>
                    </a:ext>
                  </a:extLst>
                </a:gridCol>
              </a:tblGrid>
              <a:tr h="299134">
                <a:tc>
                  <a:txBody>
                    <a:bodyPr/>
                    <a:lstStyle/>
                    <a:p>
                      <a:r>
                        <a:rPr lang="en-US" sz="1400"/>
                        <a:t>Table Name</a:t>
                      </a:r>
                    </a:p>
                  </a:txBody>
                  <a:tcPr/>
                </a:tc>
                <a:extLst>
                  <a:ext uri="{0D108BD9-81ED-4DB2-BD59-A6C34878D82A}">
                    <a16:rowId xmlns:a16="http://schemas.microsoft.com/office/drawing/2014/main" val="897896226"/>
                  </a:ext>
                </a:extLst>
              </a:tr>
              <a:tr h="299134">
                <a:tc>
                  <a:txBody>
                    <a:bodyPr/>
                    <a:lstStyle/>
                    <a:p>
                      <a:r>
                        <a:rPr lang="en-US" sz="1400"/>
                        <a:t>Asset Block</a:t>
                      </a:r>
                    </a:p>
                  </a:txBody>
                  <a:tcPr/>
                </a:tc>
                <a:extLst>
                  <a:ext uri="{0D108BD9-81ED-4DB2-BD59-A6C34878D82A}">
                    <a16:rowId xmlns:a16="http://schemas.microsoft.com/office/drawing/2014/main" val="675831119"/>
                  </a:ext>
                </a:extLst>
              </a:tr>
              <a:tr h="299134">
                <a:tc>
                  <a:txBody>
                    <a:bodyPr/>
                    <a:lstStyle/>
                    <a:p>
                      <a:r>
                        <a:rPr lang="en-US" sz="1400"/>
                        <a:t>Asset File Location</a:t>
                      </a:r>
                    </a:p>
                  </a:txBody>
                  <a:tcPr/>
                </a:tc>
                <a:extLst>
                  <a:ext uri="{0D108BD9-81ED-4DB2-BD59-A6C34878D82A}">
                    <a16:rowId xmlns:a16="http://schemas.microsoft.com/office/drawing/2014/main" val="2136345013"/>
                  </a:ext>
                </a:extLst>
              </a:tr>
              <a:tr h="299134">
                <a:tc>
                  <a:txBody>
                    <a:bodyPr/>
                    <a:lstStyle/>
                    <a:p>
                      <a:r>
                        <a:rPr lang="en-US" sz="1400"/>
                        <a:t>Asset Metadata</a:t>
                      </a:r>
                    </a:p>
                  </a:txBody>
                  <a:tcPr/>
                </a:tc>
                <a:extLst>
                  <a:ext uri="{0D108BD9-81ED-4DB2-BD59-A6C34878D82A}">
                    <a16:rowId xmlns:a16="http://schemas.microsoft.com/office/drawing/2014/main" val="1814603751"/>
                  </a:ext>
                </a:extLst>
              </a:tr>
              <a:tr h="299134">
                <a:tc>
                  <a:txBody>
                    <a:bodyPr/>
                    <a:lstStyle/>
                    <a:p>
                      <a:r>
                        <a:rPr lang="en-US" sz="1400"/>
                        <a:t>Asset Metadata Attribute</a:t>
                      </a:r>
                    </a:p>
                  </a:txBody>
                  <a:tcPr/>
                </a:tc>
                <a:extLst>
                  <a:ext uri="{0D108BD9-81ED-4DB2-BD59-A6C34878D82A}">
                    <a16:rowId xmlns:a16="http://schemas.microsoft.com/office/drawing/2014/main" val="2241325783"/>
                  </a:ext>
                </a:extLst>
              </a:tr>
              <a:tr h="299134">
                <a:tc>
                  <a:txBody>
                    <a:bodyPr/>
                    <a:lstStyle/>
                    <a:p>
                      <a:r>
                        <a:rPr lang="en-US" sz="1400"/>
                        <a:t>Episode</a:t>
                      </a:r>
                    </a:p>
                  </a:txBody>
                  <a:tcPr/>
                </a:tc>
                <a:extLst>
                  <a:ext uri="{0D108BD9-81ED-4DB2-BD59-A6C34878D82A}">
                    <a16:rowId xmlns:a16="http://schemas.microsoft.com/office/drawing/2014/main" val="2508927978"/>
                  </a:ext>
                </a:extLst>
              </a:tr>
              <a:tr h="299134">
                <a:tc>
                  <a:txBody>
                    <a:bodyPr/>
                    <a:lstStyle/>
                    <a:p>
                      <a:r>
                        <a:rPr lang="en-US" sz="1400"/>
                        <a:t>Media Asset Activity</a:t>
                      </a:r>
                    </a:p>
                  </a:txBody>
                  <a:tcPr/>
                </a:tc>
                <a:extLst>
                  <a:ext uri="{0D108BD9-81ED-4DB2-BD59-A6C34878D82A}">
                    <a16:rowId xmlns:a16="http://schemas.microsoft.com/office/drawing/2014/main" val="3838149768"/>
                  </a:ext>
                </a:extLst>
              </a:tr>
              <a:tr h="299134">
                <a:tc>
                  <a:txBody>
                    <a:bodyPr/>
                    <a:lstStyle/>
                    <a:p>
                      <a:r>
                        <a:rPr lang="en-US" sz="1400"/>
                        <a:t>Media Asset File</a:t>
                      </a:r>
                    </a:p>
                  </a:txBody>
                  <a:tcPr/>
                </a:tc>
                <a:extLst>
                  <a:ext uri="{0D108BD9-81ED-4DB2-BD59-A6C34878D82A}">
                    <a16:rowId xmlns:a16="http://schemas.microsoft.com/office/drawing/2014/main" val="2224312903"/>
                  </a:ext>
                </a:extLst>
              </a:tr>
              <a:tr h="299134">
                <a:tc>
                  <a:txBody>
                    <a:bodyPr/>
                    <a:lstStyle/>
                    <a:p>
                      <a:r>
                        <a:rPr lang="en-US" sz="1400"/>
                        <a:t>Season</a:t>
                      </a:r>
                    </a:p>
                  </a:txBody>
                  <a:tcPr/>
                </a:tc>
                <a:extLst>
                  <a:ext uri="{0D108BD9-81ED-4DB2-BD59-A6C34878D82A}">
                    <a16:rowId xmlns:a16="http://schemas.microsoft.com/office/drawing/2014/main" val="667350202"/>
                  </a:ext>
                </a:extLst>
              </a:tr>
              <a:tr h="299134">
                <a:tc>
                  <a:txBody>
                    <a:bodyPr/>
                    <a:lstStyle/>
                    <a:p>
                      <a:r>
                        <a:rPr lang="en-US" sz="1400"/>
                        <a:t>Show</a:t>
                      </a:r>
                    </a:p>
                  </a:txBody>
                  <a:tcPr/>
                </a:tc>
                <a:extLst>
                  <a:ext uri="{0D108BD9-81ED-4DB2-BD59-A6C34878D82A}">
                    <a16:rowId xmlns:a16="http://schemas.microsoft.com/office/drawing/2014/main" val="1167480664"/>
                  </a:ext>
                </a:extLst>
              </a:tr>
              <a:tr h="299134">
                <a:tc>
                  <a:txBody>
                    <a:bodyPr/>
                    <a:lstStyle/>
                    <a:p>
                      <a:r>
                        <a:rPr lang="en-US" sz="1400"/>
                        <a:t>Show Vendor Mapping</a:t>
                      </a:r>
                    </a:p>
                  </a:txBody>
                  <a:tcPr/>
                </a:tc>
                <a:extLst>
                  <a:ext uri="{0D108BD9-81ED-4DB2-BD59-A6C34878D82A}">
                    <a16:rowId xmlns:a16="http://schemas.microsoft.com/office/drawing/2014/main" val="4086679046"/>
                  </a:ext>
                </a:extLst>
              </a:tr>
              <a:tr h="299134">
                <a:tc>
                  <a:txBody>
                    <a:bodyPr/>
                    <a:lstStyle/>
                    <a:p>
                      <a:r>
                        <a:rPr lang="en-US" sz="1400"/>
                        <a:t>Studio</a:t>
                      </a:r>
                    </a:p>
                  </a:txBody>
                  <a:tcPr/>
                </a:tc>
                <a:extLst>
                  <a:ext uri="{0D108BD9-81ED-4DB2-BD59-A6C34878D82A}">
                    <a16:rowId xmlns:a16="http://schemas.microsoft.com/office/drawing/2014/main" val="2738240582"/>
                  </a:ext>
                </a:extLst>
              </a:tr>
              <a:tr h="2991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rack</a:t>
                      </a:r>
                    </a:p>
                  </a:txBody>
                  <a:tcPr/>
                </a:tc>
                <a:extLst>
                  <a:ext uri="{0D108BD9-81ED-4DB2-BD59-A6C34878D82A}">
                    <a16:rowId xmlns:a16="http://schemas.microsoft.com/office/drawing/2014/main" val="160817269"/>
                  </a:ext>
                </a:extLst>
              </a:tr>
            </a:tbl>
          </a:graphicData>
        </a:graphic>
      </p:graphicFrame>
      <p:grpSp>
        <p:nvGrpSpPr>
          <p:cNvPr id="13" name="Group 12">
            <a:extLst>
              <a:ext uri="{FF2B5EF4-FFF2-40B4-BE49-F238E27FC236}">
                <a16:creationId xmlns:a16="http://schemas.microsoft.com/office/drawing/2014/main" id="{7A8B0382-F5E9-434F-B2C7-1A817B964BC4}"/>
              </a:ext>
            </a:extLst>
          </p:cNvPr>
          <p:cNvGrpSpPr/>
          <p:nvPr/>
        </p:nvGrpSpPr>
        <p:grpSpPr>
          <a:xfrm>
            <a:off x="1420790" y="2476071"/>
            <a:ext cx="3984067" cy="2105992"/>
            <a:chOff x="1530522" y="2630442"/>
            <a:chExt cx="9130940" cy="2660912"/>
          </a:xfrm>
        </p:grpSpPr>
        <p:sp>
          <p:nvSpPr>
            <p:cNvPr id="14" name="Rectangle 13">
              <a:extLst>
                <a:ext uri="{FF2B5EF4-FFF2-40B4-BE49-F238E27FC236}">
                  <a16:creationId xmlns:a16="http://schemas.microsoft.com/office/drawing/2014/main" id="{95C00E1D-DB09-45A7-A916-534982AD2D97}"/>
                </a:ext>
              </a:extLst>
            </p:cNvPr>
            <p:cNvSpPr/>
            <p:nvPr/>
          </p:nvSpPr>
          <p:spPr>
            <a:xfrm>
              <a:off x="1530525" y="4758107"/>
              <a:ext cx="9130937" cy="533247"/>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a:t>
              </a:r>
              <a:r>
                <a:rPr lang="en-US" sz="800">
                  <a:solidFill>
                    <a:schemeClr val="tx1"/>
                  </a:solidFill>
                  <a:latin typeface="Segoe UI" panose="020B0502040204020203" pitchFamily="34" charset="0"/>
                  <a:cs typeface="Segoe UI" panose="020B0502040204020203" pitchFamily="34" charset="0"/>
                </a:rPr>
                <a:t> </a:t>
              </a:r>
              <a:r>
                <a:rPr lang="en-US" sz="1400">
                  <a:solidFill>
                    <a:schemeClr val="tx1"/>
                  </a:solidFill>
                  <a:latin typeface="Segoe UI" panose="020B0502040204020203" pitchFamily="34" charset="0"/>
                  <a:cs typeface="Segoe UI" panose="020B0502040204020203" pitchFamily="34" charset="0"/>
                </a:rPr>
                <a:t>Dataverse</a:t>
              </a:r>
            </a:p>
          </p:txBody>
        </p:sp>
        <p:sp>
          <p:nvSpPr>
            <p:cNvPr id="15" name="Rectangle 14">
              <a:extLst>
                <a:ext uri="{FF2B5EF4-FFF2-40B4-BE49-F238E27FC236}">
                  <a16:creationId xmlns:a16="http://schemas.microsoft.com/office/drawing/2014/main" id="{9C0FC799-1163-4C05-ACFA-D6B85951765D}"/>
                </a:ext>
              </a:extLst>
            </p:cNvPr>
            <p:cNvSpPr/>
            <p:nvPr/>
          </p:nvSpPr>
          <p:spPr>
            <a:xfrm>
              <a:off x="1530524" y="4092879"/>
              <a:ext cx="9130938" cy="53324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16" name="Rectangle 15">
              <a:extLst>
                <a:ext uri="{FF2B5EF4-FFF2-40B4-BE49-F238E27FC236}">
                  <a16:creationId xmlns:a16="http://schemas.microsoft.com/office/drawing/2014/main" id="{497F2237-B39A-4E05-96E6-9FBAF6AF6475}"/>
                </a:ext>
              </a:extLst>
            </p:cNvPr>
            <p:cNvSpPr/>
            <p:nvPr/>
          </p:nvSpPr>
          <p:spPr>
            <a:xfrm>
              <a:off x="1530522" y="3427651"/>
              <a:ext cx="9130938" cy="5332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Segoe UI" panose="020B0502040204020203" pitchFamily="34" charset="0"/>
                  <a:cs typeface="Segoe UI" panose="020B0502040204020203" pitchFamily="34" charset="0"/>
                </a:rPr>
                <a:t>Media Content Production CDM</a:t>
              </a:r>
            </a:p>
          </p:txBody>
        </p:sp>
        <p:sp>
          <p:nvSpPr>
            <p:cNvPr id="17" name="Rectangle 16">
              <a:extLst>
                <a:ext uri="{FF2B5EF4-FFF2-40B4-BE49-F238E27FC236}">
                  <a16:creationId xmlns:a16="http://schemas.microsoft.com/office/drawing/2014/main" id="{4732E39E-7289-4009-AD45-4C4C8AEDDBC1}"/>
                </a:ext>
              </a:extLst>
            </p:cNvPr>
            <p:cNvSpPr/>
            <p:nvPr/>
          </p:nvSpPr>
          <p:spPr>
            <a:xfrm>
              <a:off x="1530522" y="2630442"/>
              <a:ext cx="9130938" cy="665228"/>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ntent Production Apps</a:t>
              </a:r>
            </a:p>
          </p:txBody>
        </p:sp>
      </p:grpSp>
    </p:spTree>
    <p:extLst>
      <p:ext uri="{BB962C8B-B14F-4D97-AF65-F5344CB8AC3E}">
        <p14:creationId xmlns:p14="http://schemas.microsoft.com/office/powerpoint/2010/main" val="30783493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6638E1A-6BB2-432A-8D7F-87E585D79995}"/>
              </a:ext>
            </a:extLst>
          </p:cNvPr>
          <p:cNvSpPr txBox="1"/>
          <p:nvPr/>
        </p:nvSpPr>
        <p:spPr>
          <a:xfrm flipH="1">
            <a:off x="348340" y="344147"/>
            <a:ext cx="8757952"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Content Production CDM -&gt; Enriched Tables</a:t>
            </a:r>
          </a:p>
        </p:txBody>
      </p:sp>
      <p:sp>
        <p:nvSpPr>
          <p:cNvPr id="6" name="Arrow: Right 5">
            <a:extLst>
              <a:ext uri="{FF2B5EF4-FFF2-40B4-BE49-F238E27FC236}">
                <a16:creationId xmlns:a16="http://schemas.microsoft.com/office/drawing/2014/main" id="{D5655D5C-BE66-4A4A-8E5D-CFD421FA20B7}"/>
              </a:ext>
            </a:extLst>
          </p:cNvPr>
          <p:cNvSpPr/>
          <p:nvPr/>
        </p:nvSpPr>
        <p:spPr>
          <a:xfrm>
            <a:off x="5627541" y="3044435"/>
            <a:ext cx="978408" cy="484632"/>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35">
            <a:extLst>
              <a:ext uri="{FF2B5EF4-FFF2-40B4-BE49-F238E27FC236}">
                <a16:creationId xmlns:a16="http://schemas.microsoft.com/office/drawing/2014/main" id="{08C699BB-26CB-43F4-9FA2-78E4908C9A81}"/>
              </a:ext>
            </a:extLst>
          </p:cNvPr>
          <p:cNvGraphicFramePr>
            <a:graphicFrameLocks noGrp="1"/>
          </p:cNvGraphicFramePr>
          <p:nvPr>
            <p:extLst>
              <p:ext uri="{D42A27DB-BD31-4B8C-83A1-F6EECF244321}">
                <p14:modId xmlns:p14="http://schemas.microsoft.com/office/powerpoint/2010/main" val="1632823734"/>
              </p:ext>
            </p:extLst>
          </p:nvPr>
        </p:nvGraphicFramePr>
        <p:xfrm>
          <a:off x="6903978" y="2907788"/>
          <a:ext cx="3757491" cy="914400"/>
        </p:xfrm>
        <a:graphic>
          <a:graphicData uri="http://schemas.openxmlformats.org/drawingml/2006/table">
            <a:tbl>
              <a:tblPr firstRow="1" bandRow="1">
                <a:tableStyleId>{B301B821-A1FF-4177-AEE7-76D212191A09}</a:tableStyleId>
              </a:tblPr>
              <a:tblGrid>
                <a:gridCol w="3757491">
                  <a:extLst>
                    <a:ext uri="{9D8B030D-6E8A-4147-A177-3AD203B41FA5}">
                      <a16:colId xmlns:a16="http://schemas.microsoft.com/office/drawing/2014/main" val="832068167"/>
                    </a:ext>
                  </a:extLst>
                </a:gridCol>
              </a:tblGrid>
              <a:tr h="299134">
                <a:tc>
                  <a:txBody>
                    <a:bodyPr/>
                    <a:lstStyle/>
                    <a:p>
                      <a:r>
                        <a:rPr lang="en-US" sz="1400"/>
                        <a:t>Table Name</a:t>
                      </a:r>
                    </a:p>
                  </a:txBody>
                  <a:tcPr/>
                </a:tc>
                <a:extLst>
                  <a:ext uri="{0D108BD9-81ED-4DB2-BD59-A6C34878D82A}">
                    <a16:rowId xmlns:a16="http://schemas.microsoft.com/office/drawing/2014/main" val="897896226"/>
                  </a:ext>
                </a:extLst>
              </a:tr>
              <a:tr h="299134">
                <a:tc>
                  <a:txBody>
                    <a:bodyPr/>
                    <a:lstStyle/>
                    <a:p>
                      <a:r>
                        <a:rPr lang="en-US" sz="1400"/>
                        <a:t>Account</a:t>
                      </a:r>
                    </a:p>
                  </a:txBody>
                  <a:tcPr/>
                </a:tc>
                <a:extLst>
                  <a:ext uri="{0D108BD9-81ED-4DB2-BD59-A6C34878D82A}">
                    <a16:rowId xmlns:a16="http://schemas.microsoft.com/office/drawing/2014/main" val="3982220006"/>
                  </a:ext>
                </a:extLst>
              </a:tr>
              <a:tr h="299134">
                <a:tc>
                  <a:txBody>
                    <a:bodyPr/>
                    <a:lstStyle/>
                    <a:p>
                      <a:r>
                        <a:rPr lang="en-US" sz="1400"/>
                        <a:t>Asset</a:t>
                      </a:r>
                    </a:p>
                  </a:txBody>
                  <a:tcPr/>
                </a:tc>
                <a:extLst>
                  <a:ext uri="{0D108BD9-81ED-4DB2-BD59-A6C34878D82A}">
                    <a16:rowId xmlns:a16="http://schemas.microsoft.com/office/drawing/2014/main" val="1759566007"/>
                  </a:ext>
                </a:extLst>
              </a:tr>
            </a:tbl>
          </a:graphicData>
        </a:graphic>
      </p:graphicFrame>
      <p:grpSp>
        <p:nvGrpSpPr>
          <p:cNvPr id="13" name="Group 12">
            <a:extLst>
              <a:ext uri="{FF2B5EF4-FFF2-40B4-BE49-F238E27FC236}">
                <a16:creationId xmlns:a16="http://schemas.microsoft.com/office/drawing/2014/main" id="{048F79F7-C2CF-40D9-9F97-1DF0A7EBF9F7}"/>
              </a:ext>
            </a:extLst>
          </p:cNvPr>
          <p:cNvGrpSpPr/>
          <p:nvPr/>
        </p:nvGrpSpPr>
        <p:grpSpPr>
          <a:xfrm>
            <a:off x="1420790" y="2476071"/>
            <a:ext cx="3984067" cy="2105992"/>
            <a:chOff x="1530522" y="2630442"/>
            <a:chExt cx="9130940" cy="2660912"/>
          </a:xfrm>
        </p:grpSpPr>
        <p:sp>
          <p:nvSpPr>
            <p:cNvPr id="14" name="Rectangle 13">
              <a:extLst>
                <a:ext uri="{FF2B5EF4-FFF2-40B4-BE49-F238E27FC236}">
                  <a16:creationId xmlns:a16="http://schemas.microsoft.com/office/drawing/2014/main" id="{6968B60C-75BA-4A0A-9A9B-1A50AAE9920A}"/>
                </a:ext>
              </a:extLst>
            </p:cNvPr>
            <p:cNvSpPr/>
            <p:nvPr/>
          </p:nvSpPr>
          <p:spPr>
            <a:xfrm>
              <a:off x="1530525" y="4758107"/>
              <a:ext cx="9130937" cy="533247"/>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a:t>
              </a:r>
              <a:r>
                <a:rPr lang="en-US" sz="800">
                  <a:solidFill>
                    <a:schemeClr val="tx1"/>
                  </a:solidFill>
                  <a:latin typeface="Segoe UI" panose="020B0502040204020203" pitchFamily="34" charset="0"/>
                  <a:cs typeface="Segoe UI" panose="020B0502040204020203" pitchFamily="34" charset="0"/>
                </a:rPr>
                <a:t> </a:t>
              </a:r>
              <a:r>
                <a:rPr lang="en-US" sz="1400">
                  <a:solidFill>
                    <a:schemeClr val="tx1"/>
                  </a:solidFill>
                  <a:latin typeface="Segoe UI" panose="020B0502040204020203" pitchFamily="34" charset="0"/>
                  <a:cs typeface="Segoe UI" panose="020B0502040204020203" pitchFamily="34" charset="0"/>
                </a:rPr>
                <a:t>Dataverse</a:t>
              </a:r>
            </a:p>
          </p:txBody>
        </p:sp>
        <p:sp>
          <p:nvSpPr>
            <p:cNvPr id="15" name="Rectangle 14">
              <a:extLst>
                <a:ext uri="{FF2B5EF4-FFF2-40B4-BE49-F238E27FC236}">
                  <a16:creationId xmlns:a16="http://schemas.microsoft.com/office/drawing/2014/main" id="{7705CE36-10AC-40C1-AC4B-672E5C811A11}"/>
                </a:ext>
              </a:extLst>
            </p:cNvPr>
            <p:cNvSpPr/>
            <p:nvPr/>
          </p:nvSpPr>
          <p:spPr>
            <a:xfrm>
              <a:off x="1530524" y="4092879"/>
              <a:ext cx="9130938" cy="53324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16" name="Rectangle 15">
              <a:extLst>
                <a:ext uri="{FF2B5EF4-FFF2-40B4-BE49-F238E27FC236}">
                  <a16:creationId xmlns:a16="http://schemas.microsoft.com/office/drawing/2014/main" id="{B6230CB6-70E9-4799-A8CB-64F4DD86769E}"/>
                </a:ext>
              </a:extLst>
            </p:cNvPr>
            <p:cNvSpPr/>
            <p:nvPr/>
          </p:nvSpPr>
          <p:spPr>
            <a:xfrm>
              <a:off x="1530522" y="3427651"/>
              <a:ext cx="9130938" cy="5332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Segoe UI" panose="020B0502040204020203" pitchFamily="34" charset="0"/>
                  <a:cs typeface="Segoe UI" panose="020B0502040204020203" pitchFamily="34" charset="0"/>
                </a:rPr>
                <a:t>Media Content Production CDM</a:t>
              </a:r>
            </a:p>
          </p:txBody>
        </p:sp>
        <p:sp>
          <p:nvSpPr>
            <p:cNvPr id="17" name="Rectangle 16">
              <a:extLst>
                <a:ext uri="{FF2B5EF4-FFF2-40B4-BE49-F238E27FC236}">
                  <a16:creationId xmlns:a16="http://schemas.microsoft.com/office/drawing/2014/main" id="{62E9B5A5-E72F-4E47-ADB1-3DED270C852B}"/>
                </a:ext>
              </a:extLst>
            </p:cNvPr>
            <p:cNvSpPr/>
            <p:nvPr/>
          </p:nvSpPr>
          <p:spPr>
            <a:xfrm>
              <a:off x="1530522" y="2630442"/>
              <a:ext cx="9130938" cy="665228"/>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ntent Production Apps</a:t>
              </a:r>
            </a:p>
          </p:txBody>
        </p:sp>
      </p:grpSp>
    </p:spTree>
    <p:extLst>
      <p:ext uri="{BB962C8B-B14F-4D97-AF65-F5344CB8AC3E}">
        <p14:creationId xmlns:p14="http://schemas.microsoft.com/office/powerpoint/2010/main" val="24952171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A245BF7-96FB-4603-A615-AE366E02091F}"/>
              </a:ext>
            </a:extLst>
          </p:cNvPr>
          <p:cNvSpPr txBox="1"/>
          <p:nvPr/>
        </p:nvSpPr>
        <p:spPr>
          <a:xfrm flipH="1">
            <a:off x="327792" y="416066"/>
            <a:ext cx="8757952"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Content Production CDM -&gt; Apps</a:t>
            </a:r>
          </a:p>
        </p:txBody>
      </p:sp>
      <p:sp>
        <p:nvSpPr>
          <p:cNvPr id="6" name="Arrow: Right 5">
            <a:extLst>
              <a:ext uri="{FF2B5EF4-FFF2-40B4-BE49-F238E27FC236}">
                <a16:creationId xmlns:a16="http://schemas.microsoft.com/office/drawing/2014/main" id="{78E70F60-BE61-479D-A0CE-C20D8391935B}"/>
              </a:ext>
            </a:extLst>
          </p:cNvPr>
          <p:cNvSpPr/>
          <p:nvPr/>
        </p:nvSpPr>
        <p:spPr>
          <a:xfrm>
            <a:off x="5698998" y="2714154"/>
            <a:ext cx="978408" cy="484632"/>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35">
            <a:extLst>
              <a:ext uri="{FF2B5EF4-FFF2-40B4-BE49-F238E27FC236}">
                <a16:creationId xmlns:a16="http://schemas.microsoft.com/office/drawing/2014/main" id="{435DFBEA-92D4-4CB4-9456-B152244175A5}"/>
              </a:ext>
            </a:extLst>
          </p:cNvPr>
          <p:cNvGraphicFramePr>
            <a:graphicFrameLocks noGrp="1"/>
          </p:cNvGraphicFramePr>
          <p:nvPr>
            <p:extLst>
              <p:ext uri="{D42A27DB-BD31-4B8C-83A1-F6EECF244321}">
                <p14:modId xmlns:p14="http://schemas.microsoft.com/office/powerpoint/2010/main" val="1355394963"/>
              </p:ext>
            </p:extLst>
          </p:nvPr>
        </p:nvGraphicFramePr>
        <p:xfrm>
          <a:off x="6903978" y="2792736"/>
          <a:ext cx="3757491" cy="609600"/>
        </p:xfrm>
        <a:graphic>
          <a:graphicData uri="http://schemas.openxmlformats.org/drawingml/2006/table">
            <a:tbl>
              <a:tblPr firstRow="1" bandRow="1">
                <a:tableStyleId>{B301B821-A1FF-4177-AEE7-76D212191A09}</a:tableStyleId>
              </a:tblPr>
              <a:tblGrid>
                <a:gridCol w="3757491">
                  <a:extLst>
                    <a:ext uri="{9D8B030D-6E8A-4147-A177-3AD203B41FA5}">
                      <a16:colId xmlns:a16="http://schemas.microsoft.com/office/drawing/2014/main" val="832068167"/>
                    </a:ext>
                  </a:extLst>
                </a:gridCol>
              </a:tblGrid>
              <a:tr h="299134">
                <a:tc>
                  <a:txBody>
                    <a:bodyPr/>
                    <a:lstStyle/>
                    <a:p>
                      <a:r>
                        <a:rPr lang="en-US" sz="1400"/>
                        <a:t>Apps</a:t>
                      </a:r>
                    </a:p>
                  </a:txBody>
                  <a:tcPr/>
                </a:tc>
                <a:extLst>
                  <a:ext uri="{0D108BD9-81ED-4DB2-BD59-A6C34878D82A}">
                    <a16:rowId xmlns:a16="http://schemas.microsoft.com/office/drawing/2014/main" val="897896226"/>
                  </a:ext>
                </a:extLst>
              </a:tr>
              <a:tr h="299134">
                <a:tc>
                  <a:txBody>
                    <a:bodyPr/>
                    <a:lstStyle/>
                    <a:p>
                      <a:r>
                        <a:rPr lang="en-US" sz="1400"/>
                        <a:t>Content Production</a:t>
                      </a:r>
                    </a:p>
                  </a:txBody>
                  <a:tcPr/>
                </a:tc>
                <a:extLst>
                  <a:ext uri="{0D108BD9-81ED-4DB2-BD59-A6C34878D82A}">
                    <a16:rowId xmlns:a16="http://schemas.microsoft.com/office/drawing/2014/main" val="3982220006"/>
                  </a:ext>
                </a:extLst>
              </a:tr>
            </a:tbl>
          </a:graphicData>
        </a:graphic>
      </p:graphicFrame>
      <p:grpSp>
        <p:nvGrpSpPr>
          <p:cNvPr id="13" name="Group 12">
            <a:extLst>
              <a:ext uri="{FF2B5EF4-FFF2-40B4-BE49-F238E27FC236}">
                <a16:creationId xmlns:a16="http://schemas.microsoft.com/office/drawing/2014/main" id="{3220C715-92CE-4F23-8A9D-D776A8955EFA}"/>
              </a:ext>
            </a:extLst>
          </p:cNvPr>
          <p:cNvGrpSpPr/>
          <p:nvPr/>
        </p:nvGrpSpPr>
        <p:grpSpPr>
          <a:xfrm>
            <a:off x="1488359" y="2714154"/>
            <a:ext cx="3984067" cy="2105992"/>
            <a:chOff x="1530522" y="2630442"/>
            <a:chExt cx="9130940" cy="2660912"/>
          </a:xfrm>
        </p:grpSpPr>
        <p:sp>
          <p:nvSpPr>
            <p:cNvPr id="14" name="Rectangle 13">
              <a:extLst>
                <a:ext uri="{FF2B5EF4-FFF2-40B4-BE49-F238E27FC236}">
                  <a16:creationId xmlns:a16="http://schemas.microsoft.com/office/drawing/2014/main" id="{58B2E0E2-3F0B-4647-8E67-51D0061B465F}"/>
                </a:ext>
              </a:extLst>
            </p:cNvPr>
            <p:cNvSpPr/>
            <p:nvPr/>
          </p:nvSpPr>
          <p:spPr>
            <a:xfrm>
              <a:off x="1530525" y="4758107"/>
              <a:ext cx="9130937" cy="533247"/>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a:t>
              </a:r>
              <a:r>
                <a:rPr lang="en-US" sz="800">
                  <a:solidFill>
                    <a:schemeClr val="tx1"/>
                  </a:solidFill>
                  <a:latin typeface="Segoe UI" panose="020B0502040204020203" pitchFamily="34" charset="0"/>
                  <a:cs typeface="Segoe UI" panose="020B0502040204020203" pitchFamily="34" charset="0"/>
                </a:rPr>
                <a:t> </a:t>
              </a:r>
              <a:r>
                <a:rPr lang="en-US" sz="1400">
                  <a:solidFill>
                    <a:schemeClr val="tx1"/>
                  </a:solidFill>
                  <a:latin typeface="Segoe UI" panose="020B0502040204020203" pitchFamily="34" charset="0"/>
                  <a:cs typeface="Segoe UI" panose="020B0502040204020203" pitchFamily="34" charset="0"/>
                </a:rPr>
                <a:t>Dataverse</a:t>
              </a:r>
            </a:p>
          </p:txBody>
        </p:sp>
        <p:sp>
          <p:nvSpPr>
            <p:cNvPr id="15" name="Rectangle 14">
              <a:extLst>
                <a:ext uri="{FF2B5EF4-FFF2-40B4-BE49-F238E27FC236}">
                  <a16:creationId xmlns:a16="http://schemas.microsoft.com/office/drawing/2014/main" id="{D9BEA189-6C62-41B1-AE10-0475418C20E4}"/>
                </a:ext>
              </a:extLst>
            </p:cNvPr>
            <p:cNvSpPr/>
            <p:nvPr/>
          </p:nvSpPr>
          <p:spPr>
            <a:xfrm>
              <a:off x="1530524" y="4092879"/>
              <a:ext cx="9130938" cy="53324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16" name="Rectangle 15">
              <a:extLst>
                <a:ext uri="{FF2B5EF4-FFF2-40B4-BE49-F238E27FC236}">
                  <a16:creationId xmlns:a16="http://schemas.microsoft.com/office/drawing/2014/main" id="{AF980030-8DEA-4F83-A23C-C4ED997AABFA}"/>
                </a:ext>
              </a:extLst>
            </p:cNvPr>
            <p:cNvSpPr/>
            <p:nvPr/>
          </p:nvSpPr>
          <p:spPr>
            <a:xfrm>
              <a:off x="1530522" y="3427651"/>
              <a:ext cx="9130938" cy="53324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ntent Production CDM</a:t>
              </a:r>
            </a:p>
          </p:txBody>
        </p:sp>
        <p:sp>
          <p:nvSpPr>
            <p:cNvPr id="17" name="Rectangle 16">
              <a:extLst>
                <a:ext uri="{FF2B5EF4-FFF2-40B4-BE49-F238E27FC236}">
                  <a16:creationId xmlns:a16="http://schemas.microsoft.com/office/drawing/2014/main" id="{C1247848-C26F-4DAD-B698-EE6D8354F7EA}"/>
                </a:ext>
              </a:extLst>
            </p:cNvPr>
            <p:cNvSpPr/>
            <p:nvPr/>
          </p:nvSpPr>
          <p:spPr>
            <a:xfrm>
              <a:off x="1530522" y="2630442"/>
              <a:ext cx="9130938" cy="6652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Segoe UI" panose="020B0502040204020203" pitchFamily="34" charset="0"/>
                  <a:cs typeface="Segoe UI" panose="020B0502040204020203" pitchFamily="34" charset="0"/>
                </a:rPr>
                <a:t>Media Content Production Apps</a:t>
              </a:r>
            </a:p>
          </p:txBody>
        </p:sp>
      </p:grpSp>
    </p:spTree>
    <p:extLst>
      <p:ext uri="{BB962C8B-B14F-4D97-AF65-F5344CB8AC3E}">
        <p14:creationId xmlns:p14="http://schemas.microsoft.com/office/powerpoint/2010/main" val="39205250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825D63-649F-4289-B623-CABD2685BF28}"/>
              </a:ext>
            </a:extLst>
          </p:cNvPr>
          <p:cNvSpPr txBox="1"/>
          <p:nvPr/>
        </p:nvSpPr>
        <p:spPr>
          <a:xfrm flipH="1">
            <a:off x="348340" y="457163"/>
            <a:ext cx="9783950"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ERD</a:t>
            </a:r>
          </a:p>
        </p:txBody>
      </p:sp>
      <p:pic>
        <p:nvPicPr>
          <p:cNvPr id="7" name="Picture 6">
            <a:extLst>
              <a:ext uri="{FF2B5EF4-FFF2-40B4-BE49-F238E27FC236}">
                <a16:creationId xmlns:a16="http://schemas.microsoft.com/office/drawing/2014/main" id="{483FBE5A-94F2-4E76-A80E-6D09854534A3}"/>
              </a:ext>
            </a:extLst>
          </p:cNvPr>
          <p:cNvPicPr>
            <a:picLocks noChangeAspect="1"/>
          </p:cNvPicPr>
          <p:nvPr/>
        </p:nvPicPr>
        <p:blipFill>
          <a:blip r:embed="rId2"/>
          <a:stretch>
            <a:fillRect/>
          </a:stretch>
        </p:blipFill>
        <p:spPr>
          <a:xfrm>
            <a:off x="348340" y="1148042"/>
            <a:ext cx="11148494" cy="4561915"/>
          </a:xfrm>
          <a:prstGeom prst="rect">
            <a:avLst/>
          </a:prstGeom>
          <a:ln>
            <a:solidFill>
              <a:schemeClr val="bg1"/>
            </a:solidFill>
          </a:ln>
        </p:spPr>
      </p:pic>
    </p:spTree>
    <p:extLst>
      <p:ext uri="{BB962C8B-B14F-4D97-AF65-F5344CB8AC3E}">
        <p14:creationId xmlns:p14="http://schemas.microsoft.com/office/powerpoint/2010/main" val="439293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AF36F5-5FE3-448C-9DB0-02A727631D46}"/>
              </a:ext>
            </a:extLst>
          </p:cNvPr>
          <p:cNvSpPr/>
          <p:nvPr/>
        </p:nvSpPr>
        <p:spPr bwMode="auto">
          <a:xfrm>
            <a:off x="-4572" y="1904446"/>
            <a:ext cx="12192000" cy="437454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marL="0" marR="0" lvl="0" indent="0" algn="ctr" defTabSz="878441" rtl="0" eaLnBrk="1" fontAlgn="base" latinLnBrk="0" hangingPunct="1">
              <a:lnSpc>
                <a:spcPct val="90000"/>
              </a:lnSpc>
              <a:spcBef>
                <a:spcPct val="0"/>
              </a:spcBef>
              <a:spcAft>
                <a:spcPct val="0"/>
              </a:spcAft>
              <a:buClrTx/>
              <a:buSzTx/>
              <a:buFontTx/>
              <a:buNone/>
              <a:tabLst/>
              <a:defRPr/>
            </a:pPr>
            <a:endParaRPr kumimoji="0" lang="en-US" sz="2073"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3" name="Freeform: Shape 2">
            <a:extLst>
              <a:ext uri="{FF2B5EF4-FFF2-40B4-BE49-F238E27FC236}">
                <a16:creationId xmlns:a16="http://schemas.microsoft.com/office/drawing/2014/main" id="{8E1DBE2A-7AE5-44CD-B5EB-68E1E696358E}"/>
              </a:ext>
            </a:extLst>
          </p:cNvPr>
          <p:cNvSpPr/>
          <p:nvPr/>
        </p:nvSpPr>
        <p:spPr bwMode="auto">
          <a:xfrm>
            <a:off x="-4572" y="297038"/>
            <a:ext cx="11799096" cy="1139650"/>
          </a:xfrm>
          <a:custGeom>
            <a:avLst/>
            <a:gdLst>
              <a:gd name="connsiteX0" fmla="*/ 0 w 9820008"/>
              <a:gd name="connsiteY0" fmla="*/ 0 h 917146"/>
              <a:gd name="connsiteX1" fmla="*/ 187891 w 9820008"/>
              <a:gd name="connsiteY1" fmla="*/ 0 h 917146"/>
              <a:gd name="connsiteX2" fmla="*/ 442524 w 9820008"/>
              <a:gd name="connsiteY2" fmla="*/ 0 h 917146"/>
              <a:gd name="connsiteX3" fmla="*/ 630416 w 9820008"/>
              <a:gd name="connsiteY3" fmla="*/ 0 h 917146"/>
              <a:gd name="connsiteX4" fmla="*/ 9632117 w 9820008"/>
              <a:gd name="connsiteY4" fmla="*/ 0 h 917146"/>
              <a:gd name="connsiteX5" fmla="*/ 9820008 w 9820008"/>
              <a:gd name="connsiteY5" fmla="*/ 0 h 917146"/>
              <a:gd name="connsiteX6" fmla="*/ 9222437 w 9820008"/>
              <a:gd name="connsiteY6" fmla="*/ 917146 h 917146"/>
              <a:gd name="connsiteX7" fmla="*/ 9034546 w 9820008"/>
              <a:gd name="connsiteY7" fmla="*/ 917146 h 917146"/>
              <a:gd name="connsiteX8" fmla="*/ 630416 w 9820008"/>
              <a:gd name="connsiteY8" fmla="*/ 917146 h 917146"/>
              <a:gd name="connsiteX9" fmla="*/ 442524 w 9820008"/>
              <a:gd name="connsiteY9" fmla="*/ 917146 h 917146"/>
              <a:gd name="connsiteX10" fmla="*/ 187891 w 9820008"/>
              <a:gd name="connsiteY10" fmla="*/ 917146 h 917146"/>
              <a:gd name="connsiteX11" fmla="*/ 0 w 9820008"/>
              <a:gd name="connsiteY11" fmla="*/ 917146 h 91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820008" h="917146">
                <a:moveTo>
                  <a:pt x="0" y="0"/>
                </a:moveTo>
                <a:lnTo>
                  <a:pt x="187891" y="0"/>
                </a:lnTo>
                <a:lnTo>
                  <a:pt x="442524" y="0"/>
                </a:lnTo>
                <a:lnTo>
                  <a:pt x="630416" y="0"/>
                </a:lnTo>
                <a:lnTo>
                  <a:pt x="9632117" y="0"/>
                </a:lnTo>
                <a:lnTo>
                  <a:pt x="9820008" y="0"/>
                </a:lnTo>
                <a:lnTo>
                  <a:pt x="9222437" y="917146"/>
                </a:lnTo>
                <a:lnTo>
                  <a:pt x="9034546" y="917146"/>
                </a:lnTo>
                <a:lnTo>
                  <a:pt x="630416" y="917146"/>
                </a:lnTo>
                <a:lnTo>
                  <a:pt x="442524" y="917146"/>
                </a:lnTo>
                <a:lnTo>
                  <a:pt x="187891" y="917146"/>
                </a:lnTo>
                <a:lnTo>
                  <a:pt x="0" y="917146"/>
                </a:lnTo>
                <a:close/>
              </a:path>
            </a:pathLst>
          </a:custGeom>
          <a:solidFill>
            <a:srgbClr val="0078D4"/>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vert="horz" wrap="square" lIns="457200" tIns="46637" rIns="0" bIns="46637" numCol="1" rtlCol="0" anchor="ctr" anchorCtr="0" compatLnSpc="1">
            <a:prstTxWarp prst="textNoShape">
              <a:avLst/>
            </a:prstTxWarp>
            <a:no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3200" spc="-50">
                <a:ln w="3175">
                  <a:noFill/>
                </a:ln>
                <a:solidFill>
                  <a:srgbClr val="FFFFFF"/>
                </a:solidFill>
                <a:latin typeface="Segoe UI Semibold"/>
                <a:cs typeface="Segoe UI"/>
              </a:rPr>
              <a:t>Use Cases </a:t>
            </a:r>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supported with M&amp;E Accelerator solutions</a:t>
            </a:r>
            <a:endParaRPr kumimoji="0" lang="en-AU" sz="3200" b="0" i="0" u="none" strike="noStrike" kern="1200" cap="none" spc="-50" normalizeH="0" baseline="0" noProof="0">
              <a:ln w="3175">
                <a:noFill/>
              </a:ln>
              <a:solidFill>
                <a:srgbClr val="FFFFFF"/>
              </a:solidFill>
              <a:effectLst/>
              <a:uLnTx/>
              <a:uFillTx/>
              <a:latin typeface="Segoe UI Semibold"/>
              <a:ea typeface="+mn-ea"/>
              <a:cs typeface="Segoe UI"/>
            </a:endParaRPr>
          </a:p>
        </p:txBody>
      </p:sp>
      <p:graphicFrame>
        <p:nvGraphicFramePr>
          <p:cNvPr id="7" name="Object 6" hidden="1">
            <a:extLst>
              <a:ext uri="{FF2B5EF4-FFF2-40B4-BE49-F238E27FC236}">
                <a16:creationId xmlns:a16="http://schemas.microsoft.com/office/drawing/2014/main" id="{50033499-65E0-4D1D-A187-E2C7E8F55B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50033499-65E0-4D1D-A187-E2C7E8F55B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789A546-7CE2-4E18-A3A0-F3778E9CC40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44" name="Rectangle 143">
            <a:extLst>
              <a:ext uri="{FF2B5EF4-FFF2-40B4-BE49-F238E27FC236}">
                <a16:creationId xmlns:a16="http://schemas.microsoft.com/office/drawing/2014/main" id="{8E32FFA6-9154-4D21-92DC-4FA449EFA737}"/>
              </a:ext>
            </a:extLst>
          </p:cNvPr>
          <p:cNvSpPr/>
          <p:nvPr/>
        </p:nvSpPr>
        <p:spPr bwMode="auto">
          <a:xfrm>
            <a:off x="106025" y="2011339"/>
            <a:ext cx="2315899" cy="11483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360-degree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Fan &amp; Guest Insights</a:t>
            </a:r>
          </a:p>
        </p:txBody>
      </p:sp>
      <p:sp>
        <p:nvSpPr>
          <p:cNvPr id="80" name="Rectangle 79">
            <a:extLst>
              <a:ext uri="{FF2B5EF4-FFF2-40B4-BE49-F238E27FC236}">
                <a16:creationId xmlns:a16="http://schemas.microsoft.com/office/drawing/2014/main" id="{03461188-2662-485D-92FE-E95CEB72CA1B}"/>
              </a:ext>
            </a:extLst>
          </p:cNvPr>
          <p:cNvSpPr/>
          <p:nvPr/>
        </p:nvSpPr>
        <p:spPr bwMode="auto">
          <a:xfrm>
            <a:off x="4765267" y="2054785"/>
            <a:ext cx="2570470" cy="11483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Sports Data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Management</a:t>
            </a:r>
          </a:p>
        </p:txBody>
      </p:sp>
      <p:sp>
        <p:nvSpPr>
          <p:cNvPr id="84" name="Rectangle 83">
            <a:extLst>
              <a:ext uri="{FF2B5EF4-FFF2-40B4-BE49-F238E27FC236}">
                <a16:creationId xmlns:a16="http://schemas.microsoft.com/office/drawing/2014/main" id="{ED422590-300F-4C31-9345-FED82C7CF1B3}"/>
              </a:ext>
            </a:extLst>
          </p:cNvPr>
          <p:cNvSpPr/>
          <p:nvPr/>
        </p:nvSpPr>
        <p:spPr bwMode="auto">
          <a:xfrm>
            <a:off x="2376895" y="2058151"/>
            <a:ext cx="2570470" cy="11483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Digital Events &amp;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Venue Management</a:t>
            </a:r>
          </a:p>
        </p:txBody>
      </p:sp>
      <p:sp>
        <p:nvSpPr>
          <p:cNvPr id="88" name="Rectangle 87">
            <a:extLst>
              <a:ext uri="{FF2B5EF4-FFF2-40B4-BE49-F238E27FC236}">
                <a16:creationId xmlns:a16="http://schemas.microsoft.com/office/drawing/2014/main" id="{3AA2B2DC-5A05-499F-AB58-00ACD4073DBC}"/>
              </a:ext>
            </a:extLst>
          </p:cNvPr>
          <p:cNvSpPr/>
          <p:nvPr/>
        </p:nvSpPr>
        <p:spPr bwMode="auto">
          <a:xfrm>
            <a:off x="6778742" y="1979265"/>
            <a:ext cx="3480144" cy="11483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Sales &amp; Marketing</a:t>
            </a:r>
          </a:p>
        </p:txBody>
      </p:sp>
      <p:pic>
        <p:nvPicPr>
          <p:cNvPr id="100" name="Picture 99">
            <a:extLst>
              <a:ext uri="{FF2B5EF4-FFF2-40B4-BE49-F238E27FC236}">
                <a16:creationId xmlns:a16="http://schemas.microsoft.com/office/drawing/2014/main" id="{F99E5A93-A3F7-46DE-8B2A-CF27204AF367}"/>
              </a:ext>
            </a:extLst>
          </p:cNvPr>
          <p:cNvPicPr>
            <a:picLocks noChangeAspect="1"/>
          </p:cNvPicPr>
          <p:nvPr/>
        </p:nvPicPr>
        <p:blipFill rotWithShape="1">
          <a:blip r:embed="rId8"/>
          <a:srcRect l="11143" t="811" r="18070" b="1669"/>
          <a:stretch/>
        </p:blipFill>
        <p:spPr>
          <a:xfrm>
            <a:off x="2542997" y="3173239"/>
            <a:ext cx="2238267" cy="2954711"/>
          </a:xfrm>
          <a:custGeom>
            <a:avLst/>
            <a:gdLst>
              <a:gd name="connsiteX0" fmla="*/ 0 w 5203592"/>
              <a:gd name="connsiteY0" fmla="*/ 0 h 6869205"/>
              <a:gd name="connsiteX1" fmla="*/ 5203592 w 5203592"/>
              <a:gd name="connsiteY1" fmla="*/ 0 h 6869205"/>
              <a:gd name="connsiteX2" fmla="*/ 5203592 w 5203592"/>
              <a:gd name="connsiteY2" fmla="*/ 6869205 h 6869205"/>
              <a:gd name="connsiteX3" fmla="*/ 0 w 5203592"/>
              <a:gd name="connsiteY3" fmla="*/ 6869205 h 6869205"/>
            </a:gdLst>
            <a:ahLst/>
            <a:cxnLst>
              <a:cxn ang="0">
                <a:pos x="connsiteX0" y="connsiteY0"/>
              </a:cxn>
              <a:cxn ang="0">
                <a:pos x="connsiteX1" y="connsiteY1"/>
              </a:cxn>
              <a:cxn ang="0">
                <a:pos x="connsiteX2" y="connsiteY2"/>
              </a:cxn>
              <a:cxn ang="0">
                <a:pos x="connsiteX3" y="connsiteY3"/>
              </a:cxn>
            </a:cxnLst>
            <a:rect l="l" t="t" r="r" b="b"/>
            <a:pathLst>
              <a:path w="5203592" h="6869205">
                <a:moveTo>
                  <a:pt x="0" y="0"/>
                </a:moveTo>
                <a:lnTo>
                  <a:pt x="5203592" y="0"/>
                </a:lnTo>
                <a:lnTo>
                  <a:pt x="5203592" y="6869205"/>
                </a:lnTo>
                <a:lnTo>
                  <a:pt x="0" y="6869205"/>
                </a:lnTo>
                <a:close/>
              </a:path>
            </a:pathLst>
          </a:cu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05" name="Picture 104">
            <a:extLst>
              <a:ext uri="{FF2B5EF4-FFF2-40B4-BE49-F238E27FC236}">
                <a16:creationId xmlns:a16="http://schemas.microsoft.com/office/drawing/2014/main" id="{413E5380-9C98-473E-AE29-CD8727A32CFC}"/>
              </a:ext>
            </a:extLst>
          </p:cNvPr>
          <p:cNvPicPr>
            <a:picLocks noChangeAspect="1"/>
          </p:cNvPicPr>
          <p:nvPr/>
        </p:nvPicPr>
        <p:blipFill rotWithShape="1">
          <a:blip r:embed="rId9"/>
          <a:srcRect l="11482" t="1450" r="14288" b="556"/>
          <a:stretch/>
        </p:blipFill>
        <p:spPr>
          <a:xfrm>
            <a:off x="4931369" y="3173239"/>
            <a:ext cx="2238267" cy="2954711"/>
          </a:xfrm>
          <a:custGeom>
            <a:avLst/>
            <a:gdLst>
              <a:gd name="connsiteX0" fmla="*/ 0 w 5203592"/>
              <a:gd name="connsiteY0" fmla="*/ 0 h 6869205"/>
              <a:gd name="connsiteX1" fmla="*/ 5203592 w 5203592"/>
              <a:gd name="connsiteY1" fmla="*/ 0 h 6869205"/>
              <a:gd name="connsiteX2" fmla="*/ 5203592 w 5203592"/>
              <a:gd name="connsiteY2" fmla="*/ 6869205 h 6869205"/>
              <a:gd name="connsiteX3" fmla="*/ 0 w 5203592"/>
              <a:gd name="connsiteY3" fmla="*/ 6869205 h 6869205"/>
            </a:gdLst>
            <a:ahLst/>
            <a:cxnLst>
              <a:cxn ang="0">
                <a:pos x="connsiteX0" y="connsiteY0"/>
              </a:cxn>
              <a:cxn ang="0">
                <a:pos x="connsiteX1" y="connsiteY1"/>
              </a:cxn>
              <a:cxn ang="0">
                <a:pos x="connsiteX2" y="connsiteY2"/>
              </a:cxn>
              <a:cxn ang="0">
                <a:pos x="connsiteX3" y="connsiteY3"/>
              </a:cxn>
            </a:cxnLst>
            <a:rect l="l" t="t" r="r" b="b"/>
            <a:pathLst>
              <a:path w="5203592" h="6869205">
                <a:moveTo>
                  <a:pt x="0" y="0"/>
                </a:moveTo>
                <a:lnTo>
                  <a:pt x="5203592" y="0"/>
                </a:lnTo>
                <a:lnTo>
                  <a:pt x="5203592" y="6869205"/>
                </a:lnTo>
                <a:lnTo>
                  <a:pt x="0" y="6869205"/>
                </a:lnTo>
                <a:close/>
              </a:path>
            </a:pathLst>
          </a:custGeom>
        </p:spPr>
      </p:pic>
      <p:pic>
        <p:nvPicPr>
          <p:cNvPr id="49" name="Picture 48" descr="A close up of a building&#10;&#10;Description automatically generated">
            <a:extLst>
              <a:ext uri="{FF2B5EF4-FFF2-40B4-BE49-F238E27FC236}">
                <a16:creationId xmlns:a16="http://schemas.microsoft.com/office/drawing/2014/main" id="{BC97F68C-9E53-49EA-A106-9CDC1EBA6DB5}"/>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l="45467" t="40229" r="24721" b="749"/>
          <a:stretch/>
        </p:blipFill>
        <p:spPr>
          <a:xfrm>
            <a:off x="7354745" y="3156917"/>
            <a:ext cx="2238267" cy="2954711"/>
          </a:xfrm>
          <a:custGeom>
            <a:avLst/>
            <a:gdLst>
              <a:gd name="connsiteX0" fmla="*/ 0 w 2238267"/>
              <a:gd name="connsiteY0" fmla="*/ 0 h 2954711"/>
              <a:gd name="connsiteX1" fmla="*/ 2238267 w 2238267"/>
              <a:gd name="connsiteY1" fmla="*/ 0 h 2954711"/>
              <a:gd name="connsiteX2" fmla="*/ 2238267 w 2238267"/>
              <a:gd name="connsiteY2" fmla="*/ 2954711 h 2954711"/>
              <a:gd name="connsiteX3" fmla="*/ 0 w 2238267"/>
              <a:gd name="connsiteY3" fmla="*/ 2954711 h 2954711"/>
            </a:gdLst>
            <a:ahLst/>
            <a:cxnLst>
              <a:cxn ang="0">
                <a:pos x="connsiteX0" y="connsiteY0"/>
              </a:cxn>
              <a:cxn ang="0">
                <a:pos x="connsiteX1" y="connsiteY1"/>
              </a:cxn>
              <a:cxn ang="0">
                <a:pos x="connsiteX2" y="connsiteY2"/>
              </a:cxn>
              <a:cxn ang="0">
                <a:pos x="connsiteX3" y="connsiteY3"/>
              </a:cxn>
            </a:cxnLst>
            <a:rect l="l" t="t" r="r" b="b"/>
            <a:pathLst>
              <a:path w="2238267" h="2954711">
                <a:moveTo>
                  <a:pt x="0" y="0"/>
                </a:moveTo>
                <a:lnTo>
                  <a:pt x="2238267" y="0"/>
                </a:lnTo>
                <a:lnTo>
                  <a:pt x="2238267" y="2954711"/>
                </a:lnTo>
                <a:lnTo>
                  <a:pt x="0" y="2954711"/>
                </a:lnTo>
                <a:close/>
              </a:path>
            </a:pathLst>
          </a:cu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51" name="Picture 50" descr="A picture containing outdoor, grass, field, standing&#10;&#10;Description automatically generated">
            <a:extLst>
              <a:ext uri="{FF2B5EF4-FFF2-40B4-BE49-F238E27FC236}">
                <a16:creationId xmlns:a16="http://schemas.microsoft.com/office/drawing/2014/main" id="{4FC5DD56-3807-4FF6-AECA-87E4FB5229BA}"/>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13358" t="13153" r="43510" b="1440"/>
          <a:stretch/>
        </p:blipFill>
        <p:spPr>
          <a:xfrm>
            <a:off x="120045" y="3165266"/>
            <a:ext cx="2238267" cy="2954711"/>
          </a:xfrm>
          <a:custGeom>
            <a:avLst/>
            <a:gdLst>
              <a:gd name="connsiteX0" fmla="*/ 0 w 2238267"/>
              <a:gd name="connsiteY0" fmla="*/ 0 h 2954711"/>
              <a:gd name="connsiteX1" fmla="*/ 2238267 w 2238267"/>
              <a:gd name="connsiteY1" fmla="*/ 0 h 2954711"/>
              <a:gd name="connsiteX2" fmla="*/ 2238267 w 2238267"/>
              <a:gd name="connsiteY2" fmla="*/ 2954711 h 2954711"/>
              <a:gd name="connsiteX3" fmla="*/ 0 w 2238267"/>
              <a:gd name="connsiteY3" fmla="*/ 2954711 h 2954711"/>
            </a:gdLst>
            <a:ahLst/>
            <a:cxnLst>
              <a:cxn ang="0">
                <a:pos x="connsiteX0" y="connsiteY0"/>
              </a:cxn>
              <a:cxn ang="0">
                <a:pos x="connsiteX1" y="connsiteY1"/>
              </a:cxn>
              <a:cxn ang="0">
                <a:pos x="connsiteX2" y="connsiteY2"/>
              </a:cxn>
              <a:cxn ang="0">
                <a:pos x="connsiteX3" y="connsiteY3"/>
              </a:cxn>
            </a:cxnLst>
            <a:rect l="l" t="t" r="r" b="b"/>
            <a:pathLst>
              <a:path w="2238267" h="2954711">
                <a:moveTo>
                  <a:pt x="0" y="0"/>
                </a:moveTo>
                <a:lnTo>
                  <a:pt x="2238267" y="0"/>
                </a:lnTo>
                <a:lnTo>
                  <a:pt x="2238267" y="2954711"/>
                </a:lnTo>
                <a:lnTo>
                  <a:pt x="0" y="2954711"/>
                </a:lnTo>
                <a:close/>
              </a:path>
            </a:pathLst>
          </a:cu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31" name="Picture 30">
            <a:extLst>
              <a:ext uri="{FF2B5EF4-FFF2-40B4-BE49-F238E27FC236}">
                <a16:creationId xmlns:a16="http://schemas.microsoft.com/office/drawing/2014/main" id="{98D348A7-2638-42D1-B5CD-32B227A24185}"/>
              </a:ext>
            </a:extLst>
          </p:cNvPr>
          <p:cNvPicPr>
            <a:picLocks noChangeAspect="1"/>
          </p:cNvPicPr>
          <p:nvPr/>
        </p:nvPicPr>
        <p:blipFill rotWithShape="1">
          <a:blip r:embed="rId12">
            <a:extLst>
              <a:ext uri="{28A0092B-C50C-407E-A947-70E740481C1C}">
                <a14:useLocalDpi xmlns:a14="http://schemas.microsoft.com/office/drawing/2010/main" val="0"/>
              </a:ext>
            </a:extLst>
          </a:blip>
          <a:srcRect l="28785" r="28785"/>
          <a:stretch/>
        </p:blipFill>
        <p:spPr>
          <a:xfrm>
            <a:off x="9809201" y="3148362"/>
            <a:ext cx="2238267" cy="2954711"/>
          </a:xfrm>
          <a:custGeom>
            <a:avLst/>
            <a:gdLst>
              <a:gd name="connsiteX0" fmla="*/ 0 w 2238267"/>
              <a:gd name="connsiteY0" fmla="*/ 0 h 2954711"/>
              <a:gd name="connsiteX1" fmla="*/ 2238267 w 2238267"/>
              <a:gd name="connsiteY1" fmla="*/ 0 h 2954711"/>
              <a:gd name="connsiteX2" fmla="*/ 2238267 w 2238267"/>
              <a:gd name="connsiteY2" fmla="*/ 2954711 h 2954711"/>
              <a:gd name="connsiteX3" fmla="*/ 0 w 2238267"/>
              <a:gd name="connsiteY3" fmla="*/ 2954711 h 2954711"/>
            </a:gdLst>
            <a:ahLst/>
            <a:cxnLst>
              <a:cxn ang="0">
                <a:pos x="connsiteX0" y="connsiteY0"/>
              </a:cxn>
              <a:cxn ang="0">
                <a:pos x="connsiteX1" y="connsiteY1"/>
              </a:cxn>
              <a:cxn ang="0">
                <a:pos x="connsiteX2" y="connsiteY2"/>
              </a:cxn>
              <a:cxn ang="0">
                <a:pos x="connsiteX3" y="connsiteY3"/>
              </a:cxn>
            </a:cxnLst>
            <a:rect l="l" t="t" r="r" b="b"/>
            <a:pathLst>
              <a:path w="2238267" h="2954711">
                <a:moveTo>
                  <a:pt x="0" y="0"/>
                </a:moveTo>
                <a:lnTo>
                  <a:pt x="2238267" y="0"/>
                </a:lnTo>
                <a:lnTo>
                  <a:pt x="2238267" y="2954711"/>
                </a:lnTo>
                <a:lnTo>
                  <a:pt x="0" y="2954711"/>
                </a:lnTo>
                <a:close/>
              </a:path>
            </a:pathLst>
          </a:cu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3" name="Rectangle 32">
            <a:extLst>
              <a:ext uri="{FF2B5EF4-FFF2-40B4-BE49-F238E27FC236}">
                <a16:creationId xmlns:a16="http://schemas.microsoft.com/office/drawing/2014/main" id="{62971C8E-DFD3-434F-BF30-4C324F865FF7}"/>
              </a:ext>
            </a:extLst>
          </p:cNvPr>
          <p:cNvSpPr/>
          <p:nvPr/>
        </p:nvSpPr>
        <p:spPr bwMode="auto">
          <a:xfrm>
            <a:off x="9188262" y="1999972"/>
            <a:ext cx="3480144" cy="11483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Content Production</a:t>
            </a:r>
          </a:p>
        </p:txBody>
      </p:sp>
    </p:spTree>
    <p:extLst>
      <p:ext uri="{BB962C8B-B14F-4D97-AF65-F5344CB8AC3E}">
        <p14:creationId xmlns:p14="http://schemas.microsoft.com/office/powerpoint/2010/main" val="181778200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F9ACFFE4-6123-4323-8B55-6BADEDEE056C}"/>
              </a:ext>
            </a:extLst>
          </p:cNvPr>
          <p:cNvSpPr/>
          <p:nvPr/>
        </p:nvSpPr>
        <p:spPr>
          <a:xfrm>
            <a:off x="895497" y="3827997"/>
            <a:ext cx="10953066" cy="2830379"/>
          </a:xfrm>
          <a:prstGeom prst="roundRect">
            <a:avLst>
              <a:gd name="adj" fmla="val 2047"/>
            </a:avLst>
          </a:prstGeom>
          <a:solidFill>
            <a:srgbClr val="D2D2D2"/>
          </a:solidFill>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b"/>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Rectangle: Rounded Corners 25">
            <a:extLst>
              <a:ext uri="{FF2B5EF4-FFF2-40B4-BE49-F238E27FC236}">
                <a16:creationId xmlns:a16="http://schemas.microsoft.com/office/drawing/2014/main" id="{88035990-5547-4C50-A31B-A3F0A8FBD57D}"/>
              </a:ext>
            </a:extLst>
          </p:cNvPr>
          <p:cNvSpPr/>
          <p:nvPr/>
        </p:nvSpPr>
        <p:spPr>
          <a:xfrm>
            <a:off x="895497" y="917884"/>
            <a:ext cx="10953066" cy="2830379"/>
          </a:xfrm>
          <a:prstGeom prst="roundRect">
            <a:avLst>
              <a:gd name="adj" fmla="val 2047"/>
            </a:avLst>
          </a:prstGeom>
          <a:solidFill>
            <a:srgbClr val="D2D2D2"/>
          </a:solidFill>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tlCol="0" anchor="b"/>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9799" name="Rectangle 7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4AAF204-10D0-4D71-BB37-29480671980C}"/>
              </a:ext>
            </a:extLst>
          </p:cNvPr>
          <p:cNvSpPr/>
          <p:nvPr/>
        </p:nvSpPr>
        <p:spPr>
          <a:xfrm>
            <a:off x="1316000" y="5898405"/>
            <a:ext cx="10325395" cy="614326"/>
          </a:xfrm>
          <a:prstGeom prst="rect">
            <a:avLst/>
          </a:prstGeom>
          <a:solidFill>
            <a:srgbClr val="52525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ower Platform</a:t>
            </a:r>
          </a:p>
        </p:txBody>
      </p:sp>
      <p:sp>
        <p:nvSpPr>
          <p:cNvPr id="6" name="Rectangle 5">
            <a:extLst>
              <a:ext uri="{FF2B5EF4-FFF2-40B4-BE49-F238E27FC236}">
                <a16:creationId xmlns:a16="http://schemas.microsoft.com/office/drawing/2014/main" id="{843D8373-D54A-4842-9765-372FE54C83F3}"/>
              </a:ext>
            </a:extLst>
          </p:cNvPr>
          <p:cNvSpPr/>
          <p:nvPr/>
        </p:nvSpPr>
        <p:spPr>
          <a:xfrm>
            <a:off x="1316000" y="5254544"/>
            <a:ext cx="10325395" cy="614326"/>
          </a:xfrm>
          <a:prstGeom prst="rect">
            <a:avLst/>
          </a:prstGeom>
          <a:solidFill>
            <a:srgbClr val="52525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rPr>
              <a:t>Dataverse</a:t>
            </a: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 Common Data Model </a:t>
            </a:r>
          </a:p>
        </p:txBody>
      </p:sp>
      <p:sp>
        <p:nvSpPr>
          <p:cNvPr id="7" name="Rectangle 6">
            <a:extLst>
              <a:ext uri="{FF2B5EF4-FFF2-40B4-BE49-F238E27FC236}">
                <a16:creationId xmlns:a16="http://schemas.microsoft.com/office/drawing/2014/main" id="{7A2436C1-360E-437C-BBEF-ACF83D67B851}"/>
              </a:ext>
            </a:extLst>
          </p:cNvPr>
          <p:cNvSpPr/>
          <p:nvPr/>
        </p:nvSpPr>
        <p:spPr>
          <a:xfrm>
            <a:off x="1316000" y="4598869"/>
            <a:ext cx="10325395" cy="614326"/>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edia Common </a:t>
            </a:r>
          </a:p>
        </p:txBody>
      </p:sp>
      <p:sp>
        <p:nvSpPr>
          <p:cNvPr id="8" name="Rectangle 7">
            <a:extLst>
              <a:ext uri="{FF2B5EF4-FFF2-40B4-BE49-F238E27FC236}">
                <a16:creationId xmlns:a16="http://schemas.microsoft.com/office/drawing/2014/main" id="{11F59D76-FE5B-4E8E-9D96-B6EB619232A1}"/>
              </a:ext>
            </a:extLst>
          </p:cNvPr>
          <p:cNvSpPr/>
          <p:nvPr/>
        </p:nvSpPr>
        <p:spPr>
          <a:xfrm>
            <a:off x="1316000" y="3937287"/>
            <a:ext cx="5186326" cy="614326"/>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an Engagement Solution </a:t>
            </a:r>
          </a:p>
        </p:txBody>
      </p:sp>
      <p:sp>
        <p:nvSpPr>
          <p:cNvPr id="9" name="Rectangle 8">
            <a:extLst>
              <a:ext uri="{FF2B5EF4-FFF2-40B4-BE49-F238E27FC236}">
                <a16:creationId xmlns:a16="http://schemas.microsoft.com/office/drawing/2014/main" id="{A98FA9CF-21FC-4213-85D8-A790D2499B50}"/>
              </a:ext>
            </a:extLst>
          </p:cNvPr>
          <p:cNvSpPr/>
          <p:nvPr/>
        </p:nvSpPr>
        <p:spPr>
          <a:xfrm>
            <a:off x="6537767" y="3937287"/>
            <a:ext cx="5103629" cy="614326"/>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tent Production Solution </a:t>
            </a:r>
          </a:p>
        </p:txBody>
      </p:sp>
      <p:sp>
        <p:nvSpPr>
          <p:cNvPr id="11" name="Rectangle 10">
            <a:extLst>
              <a:ext uri="{FF2B5EF4-FFF2-40B4-BE49-F238E27FC236}">
                <a16:creationId xmlns:a16="http://schemas.microsoft.com/office/drawing/2014/main" id="{7F46AD52-2453-4F9F-8C65-4E38FCBEA673}"/>
              </a:ext>
            </a:extLst>
          </p:cNvPr>
          <p:cNvSpPr/>
          <p:nvPr/>
        </p:nvSpPr>
        <p:spPr>
          <a:xfrm>
            <a:off x="2478812" y="2342404"/>
            <a:ext cx="2449785" cy="632275"/>
          </a:xfrm>
          <a:prstGeom prst="rect">
            <a:avLst/>
          </a:prstGeom>
          <a:solidFill>
            <a:srgbClr val="52525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ower Apps Portals</a:t>
            </a:r>
          </a:p>
        </p:txBody>
      </p:sp>
      <p:sp>
        <p:nvSpPr>
          <p:cNvPr id="12" name="Rectangle 11">
            <a:extLst>
              <a:ext uri="{FF2B5EF4-FFF2-40B4-BE49-F238E27FC236}">
                <a16:creationId xmlns:a16="http://schemas.microsoft.com/office/drawing/2014/main" id="{8A57E05B-A6E1-498B-9B17-BA476DF32CB8}"/>
              </a:ext>
            </a:extLst>
          </p:cNvPr>
          <p:cNvSpPr/>
          <p:nvPr/>
        </p:nvSpPr>
        <p:spPr>
          <a:xfrm>
            <a:off x="3094711" y="3013835"/>
            <a:ext cx="826913" cy="679302"/>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Guest </a:t>
            </a:r>
            <a:r>
              <a:rPr kumimoji="0" lang="en-US" sz="10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rPr>
              <a:t>Mgmt</a:t>
            </a:r>
            <a:endPar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Model Driven App</a:t>
            </a: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Rectangle 12">
            <a:extLst>
              <a:ext uri="{FF2B5EF4-FFF2-40B4-BE49-F238E27FC236}">
                <a16:creationId xmlns:a16="http://schemas.microsoft.com/office/drawing/2014/main" id="{D0676F2C-351F-459E-997F-E8389D74F173}"/>
              </a:ext>
            </a:extLst>
          </p:cNvPr>
          <p:cNvSpPr/>
          <p:nvPr/>
        </p:nvSpPr>
        <p:spPr>
          <a:xfrm>
            <a:off x="1278928" y="1631333"/>
            <a:ext cx="3649669" cy="679302"/>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vent Registration Portal App</a:t>
            </a:r>
            <a:r>
              <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endParaRPr kumimoji="0" lang="en-US" sz="2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 name="Rectangle 13">
            <a:extLst>
              <a:ext uri="{FF2B5EF4-FFF2-40B4-BE49-F238E27FC236}">
                <a16:creationId xmlns:a16="http://schemas.microsoft.com/office/drawing/2014/main" id="{AEFAD23C-2664-46AE-812F-7B98EE19441B}"/>
              </a:ext>
            </a:extLst>
          </p:cNvPr>
          <p:cNvSpPr/>
          <p:nvPr/>
        </p:nvSpPr>
        <p:spPr>
          <a:xfrm>
            <a:off x="4992130" y="3021707"/>
            <a:ext cx="1510196" cy="679302"/>
          </a:xfrm>
          <a:prstGeom prst="rect">
            <a:avLst/>
          </a:prstGeom>
          <a:solidFill>
            <a:srgbClr val="52525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ynamics 365 Sales</a:t>
            </a:r>
          </a:p>
        </p:txBody>
      </p:sp>
      <p:sp>
        <p:nvSpPr>
          <p:cNvPr id="15" name="Rectangle 14">
            <a:extLst>
              <a:ext uri="{FF2B5EF4-FFF2-40B4-BE49-F238E27FC236}">
                <a16:creationId xmlns:a16="http://schemas.microsoft.com/office/drawing/2014/main" id="{762D2D39-A360-48E1-9429-57739CD51D86}"/>
              </a:ext>
            </a:extLst>
          </p:cNvPr>
          <p:cNvSpPr/>
          <p:nvPr/>
        </p:nvSpPr>
        <p:spPr>
          <a:xfrm>
            <a:off x="4992130" y="2295147"/>
            <a:ext cx="1486566" cy="679302"/>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icketing &amp; Media Product Sales Model Driven Apps</a:t>
            </a: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 name="Rectangle 15">
            <a:extLst>
              <a:ext uri="{FF2B5EF4-FFF2-40B4-BE49-F238E27FC236}">
                <a16:creationId xmlns:a16="http://schemas.microsoft.com/office/drawing/2014/main" id="{4C43BB41-D0ED-4E45-8834-BB65112E0940}"/>
              </a:ext>
            </a:extLst>
          </p:cNvPr>
          <p:cNvSpPr/>
          <p:nvPr/>
        </p:nvSpPr>
        <p:spPr>
          <a:xfrm>
            <a:off x="7265773" y="3068961"/>
            <a:ext cx="4375621" cy="679302"/>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tent Produc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del Driven App</a:t>
            </a:r>
          </a:p>
        </p:txBody>
      </p:sp>
      <p:sp>
        <p:nvSpPr>
          <p:cNvPr id="17" name="Rectangle 16">
            <a:extLst>
              <a:ext uri="{FF2B5EF4-FFF2-40B4-BE49-F238E27FC236}">
                <a16:creationId xmlns:a16="http://schemas.microsoft.com/office/drawing/2014/main" id="{DA22CCEA-5716-4AB6-B6BF-9F1877E0D4D7}"/>
              </a:ext>
            </a:extLst>
          </p:cNvPr>
          <p:cNvSpPr/>
          <p:nvPr/>
        </p:nvSpPr>
        <p:spPr>
          <a:xfrm>
            <a:off x="7263405" y="2366032"/>
            <a:ext cx="4401618" cy="679302"/>
          </a:xfrm>
          <a:prstGeom prst="rect">
            <a:avLst/>
          </a:prstGeom>
          <a:solidFill>
            <a:srgbClr val="52525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ower Automate</a:t>
            </a:r>
          </a:p>
        </p:txBody>
      </p:sp>
      <p:sp>
        <p:nvSpPr>
          <p:cNvPr id="20" name="Title 13">
            <a:extLst>
              <a:ext uri="{FF2B5EF4-FFF2-40B4-BE49-F238E27FC236}">
                <a16:creationId xmlns:a16="http://schemas.microsoft.com/office/drawing/2014/main" id="{53FD5835-B5B3-44EF-9305-FEB8C4DF55B4}"/>
              </a:ext>
            </a:extLst>
          </p:cNvPr>
          <p:cNvSpPr txBox="1">
            <a:spLocks/>
          </p:cNvSpPr>
          <p:nvPr/>
        </p:nvSpPr>
        <p:spPr>
          <a:xfrm>
            <a:off x="2155053" y="473356"/>
            <a:ext cx="10778954" cy="47069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50" normalizeH="0" baseline="0" noProof="0">
                <a:ln>
                  <a:noFill/>
                </a:ln>
                <a:solidFill>
                  <a:prstClr val="black"/>
                </a:solidFill>
                <a:effectLst/>
                <a:uLnTx/>
                <a:uFillTx/>
                <a:latin typeface="Segoe UI Semibold" panose="020B0502040204020203" pitchFamily="34" charset="0"/>
                <a:ea typeface="+mj-ea"/>
                <a:cs typeface="Segoe UI Semibold" panose="020B0502040204020203" pitchFamily="34" charset="0"/>
              </a:rPr>
              <a:t>Media and Entertainment Accelerator - Solution Layering and Packaging</a:t>
            </a:r>
          </a:p>
        </p:txBody>
      </p:sp>
      <p:sp>
        <p:nvSpPr>
          <p:cNvPr id="21" name="Rectangle 20">
            <a:extLst>
              <a:ext uri="{FF2B5EF4-FFF2-40B4-BE49-F238E27FC236}">
                <a16:creationId xmlns:a16="http://schemas.microsoft.com/office/drawing/2014/main" id="{AA2C8492-2039-4BBA-B0FD-D618BF0138C9}"/>
              </a:ext>
            </a:extLst>
          </p:cNvPr>
          <p:cNvSpPr/>
          <p:nvPr/>
        </p:nvSpPr>
        <p:spPr>
          <a:xfrm>
            <a:off x="1278928" y="3021706"/>
            <a:ext cx="1752250" cy="679302"/>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vents/Venu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del Driven App</a:t>
            </a: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 name="Rectangle 21">
            <a:extLst>
              <a:ext uri="{FF2B5EF4-FFF2-40B4-BE49-F238E27FC236}">
                <a16:creationId xmlns:a16="http://schemas.microsoft.com/office/drawing/2014/main" id="{4394C088-26AD-4F6A-9347-C6F4942DB8E6}"/>
              </a:ext>
            </a:extLst>
          </p:cNvPr>
          <p:cNvSpPr/>
          <p:nvPr/>
        </p:nvSpPr>
        <p:spPr>
          <a:xfrm>
            <a:off x="1278928" y="2342404"/>
            <a:ext cx="1155352" cy="632045"/>
          </a:xfrm>
          <a:prstGeom prst="rect">
            <a:avLst/>
          </a:prstGeom>
          <a:solidFill>
            <a:srgbClr val="7030A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icrosoft365</a:t>
            </a:r>
          </a:p>
        </p:txBody>
      </p:sp>
      <p:sp>
        <p:nvSpPr>
          <p:cNvPr id="23" name="Rectangle 22">
            <a:extLst>
              <a:ext uri="{FF2B5EF4-FFF2-40B4-BE49-F238E27FC236}">
                <a16:creationId xmlns:a16="http://schemas.microsoft.com/office/drawing/2014/main" id="{C93F2C73-3752-4C7F-BBC5-2DFFC20CB870}"/>
              </a:ext>
            </a:extLst>
          </p:cNvPr>
          <p:cNvSpPr/>
          <p:nvPr/>
        </p:nvSpPr>
        <p:spPr>
          <a:xfrm>
            <a:off x="3985055" y="3013835"/>
            <a:ext cx="943542" cy="679302"/>
          </a:xfrm>
          <a:prstGeom prst="rect">
            <a:avLst/>
          </a:prstGeom>
          <a:solidFill>
            <a:srgbClr val="0078D4"/>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ports </a:t>
            </a:r>
            <a:r>
              <a:rPr kumimoji="0" lang="en-US" sz="10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rPr>
              <a:t>Mgmt</a:t>
            </a: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Model Driven App</a:t>
            </a:r>
            <a:r>
              <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p>
        </p:txBody>
      </p:sp>
      <p:sp>
        <p:nvSpPr>
          <p:cNvPr id="27" name="Rectangle 26">
            <a:extLst>
              <a:ext uri="{FF2B5EF4-FFF2-40B4-BE49-F238E27FC236}">
                <a16:creationId xmlns:a16="http://schemas.microsoft.com/office/drawing/2014/main" id="{968E111C-AEBB-4030-9FEA-77198B3BFC33}"/>
              </a:ext>
            </a:extLst>
          </p:cNvPr>
          <p:cNvSpPr/>
          <p:nvPr/>
        </p:nvSpPr>
        <p:spPr>
          <a:xfrm>
            <a:off x="1278928" y="991544"/>
            <a:ext cx="3649669" cy="632045"/>
          </a:xfrm>
          <a:prstGeom prst="rect">
            <a:avLst/>
          </a:prstGeom>
          <a:solidFill>
            <a:srgbClr val="D83B0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SV Partner Apps</a:t>
            </a:r>
          </a:p>
        </p:txBody>
      </p:sp>
      <p:sp>
        <p:nvSpPr>
          <p:cNvPr id="29" name="Title 13">
            <a:extLst>
              <a:ext uri="{FF2B5EF4-FFF2-40B4-BE49-F238E27FC236}">
                <a16:creationId xmlns:a16="http://schemas.microsoft.com/office/drawing/2014/main" id="{F20819F6-9DAA-420D-A150-4217422574BA}"/>
              </a:ext>
            </a:extLst>
          </p:cNvPr>
          <p:cNvSpPr txBox="1">
            <a:spLocks/>
          </p:cNvSpPr>
          <p:nvPr/>
        </p:nvSpPr>
        <p:spPr>
          <a:xfrm>
            <a:off x="0" y="4977848"/>
            <a:ext cx="1006026" cy="47069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1" i="1" u="none" strike="noStrike" kern="1200" cap="none" spc="-50" normalizeH="0" baseline="0" noProof="0">
                <a:ln>
                  <a:noFill/>
                </a:ln>
                <a:solidFill>
                  <a:prstClr val="black"/>
                </a:solidFill>
                <a:effectLst/>
                <a:uLnTx/>
                <a:uFillTx/>
                <a:latin typeface="Segoe UI Semibold" panose="020B0502040204020203" pitchFamily="34" charset="0"/>
                <a:ea typeface="+mj-ea"/>
                <a:cs typeface="Segoe UI Semibold" panose="020B0502040204020203" pitchFamily="34" charset="0"/>
              </a:rPr>
              <a:t>Data Layer</a:t>
            </a:r>
          </a:p>
        </p:txBody>
      </p:sp>
      <p:sp>
        <p:nvSpPr>
          <p:cNvPr id="30" name="Title 13">
            <a:extLst>
              <a:ext uri="{FF2B5EF4-FFF2-40B4-BE49-F238E27FC236}">
                <a16:creationId xmlns:a16="http://schemas.microsoft.com/office/drawing/2014/main" id="{9046899D-D695-4E5B-8808-41762A28A9EC}"/>
              </a:ext>
            </a:extLst>
          </p:cNvPr>
          <p:cNvSpPr txBox="1">
            <a:spLocks/>
          </p:cNvSpPr>
          <p:nvPr/>
        </p:nvSpPr>
        <p:spPr>
          <a:xfrm>
            <a:off x="23964" y="2109144"/>
            <a:ext cx="1006026" cy="47069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1" i="1" u="none" strike="noStrike" kern="1200" cap="none" spc="-50" normalizeH="0" baseline="0" noProof="0">
                <a:ln>
                  <a:noFill/>
                </a:ln>
                <a:solidFill>
                  <a:prstClr val="black"/>
                </a:solidFill>
                <a:effectLst/>
                <a:uLnTx/>
                <a:uFillTx/>
                <a:latin typeface="Segoe UI Semibold" panose="020B0502040204020203" pitchFamily="34" charset="0"/>
                <a:ea typeface="+mj-ea"/>
                <a:cs typeface="Segoe UI Semibold" panose="020B0502040204020203" pitchFamily="34" charset="0"/>
              </a:rPr>
              <a:t>Apps Layer</a:t>
            </a:r>
          </a:p>
        </p:txBody>
      </p:sp>
      <p:sp>
        <p:nvSpPr>
          <p:cNvPr id="31" name="Rectangle 30">
            <a:extLst>
              <a:ext uri="{FF2B5EF4-FFF2-40B4-BE49-F238E27FC236}">
                <a16:creationId xmlns:a16="http://schemas.microsoft.com/office/drawing/2014/main" id="{BF411E31-82C2-4B10-BBCC-96E58A119373}"/>
              </a:ext>
            </a:extLst>
          </p:cNvPr>
          <p:cNvSpPr/>
          <p:nvPr/>
        </p:nvSpPr>
        <p:spPr>
          <a:xfrm>
            <a:off x="7263405" y="973584"/>
            <a:ext cx="4377991" cy="1388331"/>
          </a:xfrm>
          <a:prstGeom prst="rect">
            <a:avLst/>
          </a:prstGeom>
          <a:solidFill>
            <a:srgbClr val="D83B0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SV Partner Apps</a:t>
            </a:r>
          </a:p>
        </p:txBody>
      </p:sp>
      <p:sp>
        <p:nvSpPr>
          <p:cNvPr id="18" name="Rectangle 17">
            <a:extLst>
              <a:ext uri="{FF2B5EF4-FFF2-40B4-BE49-F238E27FC236}">
                <a16:creationId xmlns:a16="http://schemas.microsoft.com/office/drawing/2014/main" id="{3C9FF248-FBB7-4919-87EC-C6A623F11E3F}"/>
              </a:ext>
            </a:extLst>
          </p:cNvPr>
          <p:cNvSpPr/>
          <p:nvPr/>
        </p:nvSpPr>
        <p:spPr>
          <a:xfrm>
            <a:off x="9231582" y="1753690"/>
            <a:ext cx="2409812" cy="610283"/>
          </a:xfrm>
          <a:prstGeom prst="rect">
            <a:avLst/>
          </a:prstGeom>
          <a:solidFill>
            <a:srgbClr val="7030A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Storage, Azure Compu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Video Analyzer, AI</a:t>
            </a:r>
          </a:p>
        </p:txBody>
      </p:sp>
    </p:spTree>
    <p:extLst>
      <p:ext uri="{BB962C8B-B14F-4D97-AF65-F5344CB8AC3E}">
        <p14:creationId xmlns:p14="http://schemas.microsoft.com/office/powerpoint/2010/main" val="804594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3">
            <a:extLst>
              <a:ext uri="{FF2B5EF4-FFF2-40B4-BE49-F238E27FC236}">
                <a16:creationId xmlns:a16="http://schemas.microsoft.com/office/drawing/2014/main" id="{19AB4516-FD1F-4AD4-AA3A-9395F8B7A1F9}"/>
              </a:ext>
            </a:extLst>
          </p:cNvPr>
          <p:cNvSpPr>
            <a:spLocks noGrp="1"/>
          </p:cNvSpPr>
          <p:nvPr>
            <p:ph type="title"/>
          </p:nvPr>
        </p:nvSpPr>
        <p:spPr>
          <a:xfrm>
            <a:off x="1314824" y="735106"/>
            <a:ext cx="10053763" cy="2928470"/>
          </a:xfrm>
        </p:spPr>
        <p:txBody>
          <a:bodyPr vert="horz" lIns="91440" tIns="45720" rIns="91440" bIns="45720" rtlCol="0" anchor="b">
            <a:normAutofit/>
          </a:bodyPr>
          <a:lstStyle/>
          <a:p>
            <a:r>
              <a:rPr lang="en-US" sz="4800" b="1" kern="1200" spc="-50">
                <a:solidFill>
                  <a:srgbClr val="FFFFFF"/>
                </a:solidFill>
                <a:latin typeface="+mj-lt"/>
                <a:ea typeface="+mj-ea"/>
                <a:cs typeface="+mj-cs"/>
              </a:rPr>
              <a:t>Fan Engagement</a:t>
            </a:r>
            <a:r>
              <a:rPr lang="en-US" sz="4800" b="1" spc="-50">
                <a:solidFill>
                  <a:srgbClr val="FFFFFF"/>
                </a:solidFill>
              </a:rPr>
              <a:t> Solution</a:t>
            </a:r>
            <a:endParaRPr lang="en-US" sz="4800" kern="1200">
              <a:solidFill>
                <a:srgbClr val="FFFFFF"/>
              </a:solidFill>
              <a:latin typeface="+mj-lt"/>
              <a:ea typeface="+mj-ea"/>
              <a:cs typeface="+mj-cs"/>
            </a:endParaRPr>
          </a:p>
        </p:txBody>
      </p:sp>
      <p:sp>
        <p:nvSpPr>
          <p:cNvPr id="5" name="Text Placeholder 4">
            <a:extLst>
              <a:ext uri="{FF2B5EF4-FFF2-40B4-BE49-F238E27FC236}">
                <a16:creationId xmlns:a16="http://schemas.microsoft.com/office/drawing/2014/main" id="{2888D0F9-982E-41FC-950B-A13CB0DBEF9C}"/>
              </a:ext>
            </a:extLst>
          </p:cNvPr>
          <p:cNvSpPr>
            <a:spLocks noGrp="1"/>
          </p:cNvSpPr>
          <p:nvPr>
            <p:ph type="body" idx="1"/>
          </p:nvPr>
        </p:nvSpPr>
        <p:spPr>
          <a:xfrm>
            <a:off x="1350682" y="4870824"/>
            <a:ext cx="10005951" cy="1458258"/>
          </a:xfrm>
        </p:spPr>
        <p:txBody>
          <a:bodyPr vert="horz" lIns="91440" tIns="45720" rIns="91440" bIns="45720" rtlCol="0" anchor="ctr">
            <a:normAutofit/>
          </a:bodyPr>
          <a:lstStyle/>
          <a:p>
            <a:r>
              <a:rPr lang="en-US">
                <a:solidFill>
                  <a:schemeClr val="tx1"/>
                </a:solidFill>
                <a:cs typeface="Calibri"/>
              </a:rPr>
              <a:t>Driving apps that manage fans and guest experiences and data across media assets and venues</a:t>
            </a:r>
            <a:endParaRPr lang="en-US" sz="2400" kern="1200">
              <a:solidFill>
                <a:schemeClr val="tx1"/>
              </a:solidFill>
              <a:latin typeface="+mn-lt"/>
              <a:cs typeface="Calibri"/>
            </a:endParaRPr>
          </a:p>
        </p:txBody>
      </p:sp>
    </p:spTree>
    <p:extLst>
      <p:ext uri="{BB962C8B-B14F-4D97-AF65-F5344CB8AC3E}">
        <p14:creationId xmlns:p14="http://schemas.microsoft.com/office/powerpoint/2010/main" val="4128801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7239103-D575-423F-8B20-3CE1A52423B7}"/>
              </a:ext>
            </a:extLst>
          </p:cNvPr>
          <p:cNvSpPr txBox="1"/>
          <p:nvPr/>
        </p:nvSpPr>
        <p:spPr>
          <a:xfrm flipH="1">
            <a:off x="348340" y="39494"/>
            <a:ext cx="10993250" cy="830997"/>
          </a:xfrm>
          <a:prstGeom prst="rect">
            <a:avLst/>
          </a:prstGeom>
          <a:noFill/>
        </p:spPr>
        <p:txBody>
          <a:bodyPr wrap="square" lIns="91440" tIns="45720" rIns="91440" bIns="45720" rtlCol="0" anchor="t">
            <a:spAutoFit/>
          </a:bodyPr>
          <a:lstStyle/>
          <a:p>
            <a:r>
              <a:rPr lang="en-US" sz="2800" b="1" spc="-50">
                <a:latin typeface="Segoe UI Semibold"/>
                <a:ea typeface="+mj-ea"/>
                <a:cs typeface="Segoe UI Semibold"/>
              </a:rPr>
              <a:t>Fan Engagement Solution </a:t>
            </a:r>
            <a:endParaRPr lang="en-US" sz="2800" b="1" spc="-50">
              <a:solidFill>
                <a:prstClr val="black"/>
              </a:solidFill>
              <a:latin typeface="Segoe UI Semibold" panose="020B0502040204020203" pitchFamily="34" charset="0"/>
              <a:ea typeface="+mj-ea"/>
              <a:cs typeface="Segoe UI Semibold" panose="020B0502040204020203" pitchFamily="34" charset="0"/>
            </a:endParaRPr>
          </a:p>
          <a:p>
            <a:r>
              <a:rPr lang="en-US" sz="2000">
                <a:latin typeface="Segoe UI"/>
                <a:cs typeface="Segoe UI"/>
              </a:rPr>
              <a:t>Packaging &amp; Layering</a:t>
            </a:r>
          </a:p>
        </p:txBody>
      </p:sp>
      <p:grpSp>
        <p:nvGrpSpPr>
          <p:cNvPr id="29" name="Group 28">
            <a:extLst>
              <a:ext uri="{FF2B5EF4-FFF2-40B4-BE49-F238E27FC236}">
                <a16:creationId xmlns:a16="http://schemas.microsoft.com/office/drawing/2014/main" id="{5FF7926C-E702-4CB8-A140-17A007A11B9F}"/>
              </a:ext>
            </a:extLst>
          </p:cNvPr>
          <p:cNvGrpSpPr/>
          <p:nvPr/>
        </p:nvGrpSpPr>
        <p:grpSpPr>
          <a:xfrm>
            <a:off x="348340" y="6274926"/>
            <a:ext cx="4782118" cy="622503"/>
            <a:chOff x="348341" y="5851557"/>
            <a:chExt cx="4685777" cy="1223272"/>
          </a:xfrm>
        </p:grpSpPr>
        <p:sp>
          <p:nvSpPr>
            <p:cNvPr id="30" name="Rectangle 29">
              <a:extLst>
                <a:ext uri="{FF2B5EF4-FFF2-40B4-BE49-F238E27FC236}">
                  <a16:creationId xmlns:a16="http://schemas.microsoft.com/office/drawing/2014/main" id="{94CDEF3C-ECFD-44E7-9EE0-A890ABFDBB5E}"/>
                </a:ext>
              </a:extLst>
            </p:cNvPr>
            <p:cNvSpPr/>
            <p:nvPr/>
          </p:nvSpPr>
          <p:spPr>
            <a:xfrm>
              <a:off x="348341" y="6021906"/>
              <a:ext cx="333428" cy="3637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1D7EC73B-0B75-481F-9215-67645BE886AC}"/>
                </a:ext>
              </a:extLst>
            </p:cNvPr>
            <p:cNvSpPr/>
            <p:nvPr/>
          </p:nvSpPr>
          <p:spPr>
            <a:xfrm>
              <a:off x="348341" y="6555995"/>
              <a:ext cx="333428" cy="36373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942FC82D-E33A-412F-A8C7-0F695B48EDA5}"/>
                </a:ext>
              </a:extLst>
            </p:cNvPr>
            <p:cNvSpPr txBox="1"/>
            <p:nvPr/>
          </p:nvSpPr>
          <p:spPr>
            <a:xfrm>
              <a:off x="656427" y="5851557"/>
              <a:ext cx="4377691" cy="725769"/>
            </a:xfrm>
            <a:prstGeom prst="rect">
              <a:avLst/>
            </a:prstGeom>
            <a:noFill/>
          </p:spPr>
          <p:txBody>
            <a:bodyPr wrap="none" rtlCol="0">
              <a:spAutoFit/>
            </a:bodyPr>
            <a:lstStyle/>
            <a:p>
              <a:r>
                <a:rPr lang="en-US">
                  <a:latin typeface="Segoe UI" panose="020B0502040204020203" pitchFamily="34" charset="0"/>
                  <a:cs typeface="Segoe UI" panose="020B0502040204020203" pitchFamily="34" charset="0"/>
                </a:rPr>
                <a:t>Media Accelerator Component Solutions</a:t>
              </a:r>
            </a:p>
          </p:txBody>
        </p:sp>
        <p:sp>
          <p:nvSpPr>
            <p:cNvPr id="33" name="TextBox 32">
              <a:extLst>
                <a:ext uri="{FF2B5EF4-FFF2-40B4-BE49-F238E27FC236}">
                  <a16:creationId xmlns:a16="http://schemas.microsoft.com/office/drawing/2014/main" id="{455136BA-FF64-4584-AD76-BA2183031319}"/>
                </a:ext>
              </a:extLst>
            </p:cNvPr>
            <p:cNvSpPr txBox="1"/>
            <p:nvPr/>
          </p:nvSpPr>
          <p:spPr>
            <a:xfrm>
              <a:off x="664874" y="6349060"/>
              <a:ext cx="3800864" cy="725769"/>
            </a:xfrm>
            <a:prstGeom prst="rect">
              <a:avLst/>
            </a:prstGeom>
            <a:noFill/>
          </p:spPr>
          <p:txBody>
            <a:bodyPr wrap="none" rtlCol="0">
              <a:spAutoFit/>
            </a:bodyPr>
            <a:lstStyle/>
            <a:p>
              <a:r>
                <a:rPr lang="en-US">
                  <a:latin typeface="Segoe UI" panose="020B0502040204020203" pitchFamily="34" charset="0"/>
                  <a:cs typeface="Segoe UI" panose="020B0502040204020203" pitchFamily="34" charset="0"/>
                </a:rPr>
                <a:t>Existing Microsoft 1</a:t>
              </a:r>
              <a:r>
                <a:rPr lang="en-US" baseline="30000">
                  <a:latin typeface="Segoe UI" panose="020B0502040204020203" pitchFamily="34" charset="0"/>
                  <a:cs typeface="Segoe UI" panose="020B0502040204020203" pitchFamily="34" charset="0"/>
                </a:rPr>
                <a:t>st</a:t>
              </a:r>
              <a:r>
                <a:rPr lang="en-US">
                  <a:latin typeface="Segoe UI" panose="020B0502040204020203" pitchFamily="34" charset="0"/>
                  <a:cs typeface="Segoe UI" panose="020B0502040204020203" pitchFamily="34" charset="0"/>
                </a:rPr>
                <a:t> Party Solutions</a:t>
              </a:r>
            </a:p>
          </p:txBody>
        </p:sp>
      </p:grpSp>
      <p:grpSp>
        <p:nvGrpSpPr>
          <p:cNvPr id="4" name="Group 3">
            <a:extLst>
              <a:ext uri="{FF2B5EF4-FFF2-40B4-BE49-F238E27FC236}">
                <a16:creationId xmlns:a16="http://schemas.microsoft.com/office/drawing/2014/main" id="{ED6AFCA3-BA6C-448A-9700-8D8D02E1D87B}"/>
              </a:ext>
            </a:extLst>
          </p:cNvPr>
          <p:cNvGrpSpPr/>
          <p:nvPr/>
        </p:nvGrpSpPr>
        <p:grpSpPr>
          <a:xfrm>
            <a:off x="119740" y="1807826"/>
            <a:ext cx="10593638" cy="3619445"/>
            <a:chOff x="1523864" y="1947644"/>
            <a:chExt cx="9150929" cy="3948285"/>
          </a:xfrm>
        </p:grpSpPr>
        <mc:AlternateContent xmlns:mc="http://schemas.openxmlformats.org/markup-compatibility/2006">
          <mc:Choice xmlns:p14="http://schemas.microsoft.com/office/powerpoint/2010/main" Requires="p14">
            <p:contentPart p14:bwMode="auto" r:id="rId3">
              <p14:nvContentPartPr>
                <p14:cNvPr id="83" name="Ink 82">
                  <a:extLst>
                    <a:ext uri="{FF2B5EF4-FFF2-40B4-BE49-F238E27FC236}">
                      <a16:creationId xmlns:a16="http://schemas.microsoft.com/office/drawing/2014/main" id="{D95B7D53-5C04-4EBC-B402-BADAFED6A271}"/>
                    </a:ext>
                  </a:extLst>
                </p14:cNvPr>
                <p14:cNvContentPartPr/>
                <p14:nvPr/>
              </p14:nvContentPartPr>
              <p14:xfrm>
                <a:off x="8545730" y="2096877"/>
                <a:ext cx="5040" cy="12637"/>
              </p14:xfrm>
            </p:contentPart>
          </mc:Choice>
          <mc:Fallback>
            <p:pic>
              <p:nvPicPr>
                <p:cNvPr id="83" name="Ink 82">
                  <a:extLst>
                    <a:ext uri="{FF2B5EF4-FFF2-40B4-BE49-F238E27FC236}">
                      <a16:creationId xmlns:a16="http://schemas.microsoft.com/office/drawing/2014/main" id="{D95B7D53-5C04-4EBC-B402-BADAFED6A271}"/>
                    </a:ext>
                  </a:extLst>
                </p:cNvPr>
                <p:cNvPicPr/>
                <p:nvPr/>
              </p:nvPicPr>
              <p:blipFill>
                <a:blip r:embed="rId4"/>
                <a:stretch>
                  <a:fillRect/>
                </a:stretch>
              </p:blipFill>
              <p:spPr>
                <a:xfrm>
                  <a:off x="8537855" y="2087004"/>
                  <a:ext cx="20475" cy="31987"/>
                </a:xfrm>
                <a:prstGeom prst="rect">
                  <a:avLst/>
                </a:prstGeom>
              </p:spPr>
            </p:pic>
          </mc:Fallback>
        </mc:AlternateContent>
        <p:sp>
          <p:nvSpPr>
            <p:cNvPr id="11" name="Rectangle 10">
              <a:extLst>
                <a:ext uri="{FF2B5EF4-FFF2-40B4-BE49-F238E27FC236}">
                  <a16:creationId xmlns:a16="http://schemas.microsoft.com/office/drawing/2014/main" id="{CDA188C9-3A60-4AAE-9E98-4A4277FEEC20}"/>
                </a:ext>
              </a:extLst>
            </p:cNvPr>
            <p:cNvSpPr/>
            <p:nvPr/>
          </p:nvSpPr>
          <p:spPr>
            <a:xfrm>
              <a:off x="1523864" y="5514573"/>
              <a:ext cx="9144263" cy="38135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icrosoft Dataverse</a:t>
              </a:r>
            </a:p>
          </p:txBody>
        </p:sp>
        <p:sp>
          <p:nvSpPr>
            <p:cNvPr id="12" name="Rectangle 11">
              <a:extLst>
                <a:ext uri="{FF2B5EF4-FFF2-40B4-BE49-F238E27FC236}">
                  <a16:creationId xmlns:a16="http://schemas.microsoft.com/office/drawing/2014/main" id="{D9485679-7BCB-4CCD-9890-F92083DDEA85}"/>
                </a:ext>
              </a:extLst>
            </p:cNvPr>
            <p:cNvSpPr/>
            <p:nvPr/>
          </p:nvSpPr>
          <p:spPr>
            <a:xfrm>
              <a:off x="7640896" y="3332304"/>
              <a:ext cx="3027231" cy="38135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Dynamics 365 Sales</a:t>
              </a:r>
            </a:p>
          </p:txBody>
        </p:sp>
        <p:sp>
          <p:nvSpPr>
            <p:cNvPr id="13" name="Rectangle 12">
              <a:extLst>
                <a:ext uri="{FF2B5EF4-FFF2-40B4-BE49-F238E27FC236}">
                  <a16:creationId xmlns:a16="http://schemas.microsoft.com/office/drawing/2014/main" id="{284D2E54-D0CC-4599-9E43-1420C7835110}"/>
                </a:ext>
              </a:extLst>
            </p:cNvPr>
            <p:cNvSpPr/>
            <p:nvPr/>
          </p:nvSpPr>
          <p:spPr>
            <a:xfrm>
              <a:off x="1530526" y="4633921"/>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Common</a:t>
              </a:r>
            </a:p>
          </p:txBody>
        </p:sp>
        <p:sp>
          <p:nvSpPr>
            <p:cNvPr id="14" name="Rectangle 13">
              <a:extLst>
                <a:ext uri="{FF2B5EF4-FFF2-40B4-BE49-F238E27FC236}">
                  <a16:creationId xmlns:a16="http://schemas.microsoft.com/office/drawing/2014/main" id="{6CA68921-3D11-41E4-B391-43822A352E37}"/>
                </a:ext>
              </a:extLst>
            </p:cNvPr>
            <p:cNvSpPr/>
            <p:nvPr/>
          </p:nvSpPr>
          <p:spPr>
            <a:xfrm>
              <a:off x="1530530" y="4193592"/>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Events &amp; Venues</a:t>
              </a:r>
            </a:p>
          </p:txBody>
        </p:sp>
        <p:sp>
          <p:nvSpPr>
            <p:cNvPr id="15" name="Rectangle 14">
              <a:extLst>
                <a:ext uri="{FF2B5EF4-FFF2-40B4-BE49-F238E27FC236}">
                  <a16:creationId xmlns:a16="http://schemas.microsoft.com/office/drawing/2014/main" id="{12534374-BCD9-487D-BA6E-1D2E5FC0884D}"/>
                </a:ext>
              </a:extLst>
            </p:cNvPr>
            <p:cNvSpPr/>
            <p:nvPr/>
          </p:nvSpPr>
          <p:spPr>
            <a:xfrm>
              <a:off x="7640895" y="2907899"/>
              <a:ext cx="303389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Event Product Sales</a:t>
              </a:r>
            </a:p>
          </p:txBody>
        </p:sp>
        <p:sp>
          <p:nvSpPr>
            <p:cNvPr id="21" name="Rectangle 20">
              <a:extLst>
                <a:ext uri="{FF2B5EF4-FFF2-40B4-BE49-F238E27FC236}">
                  <a16:creationId xmlns:a16="http://schemas.microsoft.com/office/drawing/2014/main" id="{1B526CDC-7946-43A8-9086-3049145BEF8A}"/>
                </a:ext>
              </a:extLst>
            </p:cNvPr>
            <p:cNvSpPr/>
            <p:nvPr/>
          </p:nvSpPr>
          <p:spPr>
            <a:xfrm>
              <a:off x="1530529" y="3772634"/>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Sports</a:t>
              </a:r>
            </a:p>
          </p:txBody>
        </p:sp>
        <p:sp>
          <p:nvSpPr>
            <p:cNvPr id="27" name="Rectangle 26">
              <a:extLst>
                <a:ext uri="{FF2B5EF4-FFF2-40B4-BE49-F238E27FC236}">
                  <a16:creationId xmlns:a16="http://schemas.microsoft.com/office/drawing/2014/main" id="{4E7EB817-567A-4250-AA92-329F433F3203}"/>
                </a:ext>
              </a:extLst>
            </p:cNvPr>
            <p:cNvSpPr/>
            <p:nvPr/>
          </p:nvSpPr>
          <p:spPr>
            <a:xfrm>
              <a:off x="7640895" y="2460337"/>
              <a:ext cx="3033893" cy="3978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Segoe UI" panose="020B0502040204020203" pitchFamily="34" charset="0"/>
                <a:cs typeface="Segoe UI" panose="020B0502040204020203" pitchFamily="34" charset="0"/>
              </a:endParaRPr>
            </a:p>
            <a:p>
              <a:pPr algn="ctr"/>
              <a:r>
                <a:rPr lang="en-US" sz="1400">
                  <a:latin typeface="Segoe UI" panose="020B0502040204020203" pitchFamily="34" charset="0"/>
                  <a:cs typeface="Segoe UI" panose="020B0502040204020203" pitchFamily="34" charset="0"/>
                </a:rPr>
                <a:t>Media Sports Event Product Sales</a:t>
              </a:r>
            </a:p>
            <a:p>
              <a:pPr algn="ctr"/>
              <a:r>
                <a:rPr lang="en-US" sz="800">
                  <a:latin typeface="Segoe UI" panose="020B0502040204020203" pitchFamily="34" charset="0"/>
                  <a:cs typeface="Segoe UI" panose="020B0502040204020203" pitchFamily="34" charset="0"/>
                </a:rPr>
                <a:t>(Sports Enriched Forms for Model Driven Applications Only)</a:t>
              </a:r>
            </a:p>
            <a:p>
              <a:pPr algn="ctr"/>
              <a:endParaRPr lang="en-US" sz="140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859C3C0-3977-4026-AE61-604B01050953}"/>
                </a:ext>
              </a:extLst>
            </p:cNvPr>
            <p:cNvSpPr/>
            <p:nvPr/>
          </p:nvSpPr>
          <p:spPr>
            <a:xfrm>
              <a:off x="1523865" y="5074249"/>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Asset CDM</a:t>
              </a:r>
            </a:p>
          </p:txBody>
        </p:sp>
        <p:sp>
          <p:nvSpPr>
            <p:cNvPr id="17" name="Rectangle 16">
              <a:extLst>
                <a:ext uri="{FF2B5EF4-FFF2-40B4-BE49-F238E27FC236}">
                  <a16:creationId xmlns:a16="http://schemas.microsoft.com/office/drawing/2014/main" id="{962CC5A3-E4F6-4D80-81F5-789B75A35631}"/>
                </a:ext>
              </a:extLst>
            </p:cNvPr>
            <p:cNvSpPr/>
            <p:nvPr/>
          </p:nvSpPr>
          <p:spPr>
            <a:xfrm>
              <a:off x="6026734" y="1950768"/>
              <a:ext cx="4641393" cy="4484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Segoe UI" panose="020B0502040204020203" pitchFamily="34" charset="0"/>
                <a:cs typeface="Segoe UI" panose="020B0502040204020203" pitchFamily="34" charset="0"/>
              </a:endParaRPr>
            </a:p>
            <a:p>
              <a:pPr algn="ctr"/>
              <a:r>
                <a:rPr lang="en-US" sz="1400">
                  <a:latin typeface="Segoe UI" panose="020B0502040204020203" pitchFamily="34" charset="0"/>
                  <a:cs typeface="Segoe UI" panose="020B0502040204020203" pitchFamily="34" charset="0"/>
                </a:rPr>
                <a:t>Media Apps</a:t>
              </a:r>
            </a:p>
            <a:p>
              <a:pPr algn="ctr"/>
              <a:r>
                <a:rPr lang="en-US" sz="1400">
                  <a:latin typeface="Segoe UI" panose="020B0502040204020203" pitchFamily="34" charset="0"/>
                  <a:cs typeface="Segoe UI" panose="020B0502040204020203" pitchFamily="34" charset="0"/>
                </a:rPr>
                <a:t>(</a:t>
              </a:r>
              <a:r>
                <a:rPr lang="en-US" sz="1000">
                  <a:latin typeface="Segoe UI" panose="020B0502040204020203" pitchFamily="34" charset="0"/>
                  <a:cs typeface="Segoe UI" panose="020B0502040204020203" pitchFamily="34" charset="0"/>
                </a:rPr>
                <a:t>Model Driven Applications Only)</a:t>
              </a:r>
            </a:p>
            <a:p>
              <a:pPr algn="ctr"/>
              <a:endParaRPr lang="en-US" sz="1400">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99220916-5964-4ED1-8660-5BE717822777}"/>
                </a:ext>
              </a:extLst>
            </p:cNvPr>
            <p:cNvSpPr/>
            <p:nvPr/>
          </p:nvSpPr>
          <p:spPr>
            <a:xfrm>
              <a:off x="4547145" y="2912305"/>
              <a:ext cx="3057503" cy="379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Segoe UI" panose="020B0502040204020203" pitchFamily="34" charset="0"/>
                <a:cs typeface="Segoe UI" panose="020B0502040204020203" pitchFamily="34" charset="0"/>
              </a:endParaRPr>
            </a:p>
            <a:p>
              <a:pPr algn="ctr"/>
              <a:r>
                <a:rPr lang="en-US" sz="1400">
                  <a:latin typeface="Segoe UI" panose="020B0502040204020203" pitchFamily="34" charset="0"/>
                  <a:cs typeface="Segoe UI" panose="020B0502040204020203" pitchFamily="34" charset="0"/>
                </a:rPr>
                <a:t>Media Custom Connectors</a:t>
              </a:r>
            </a:p>
            <a:p>
              <a:pPr algn="ctr"/>
              <a:r>
                <a:rPr lang="en-US" sz="900">
                  <a:latin typeface="Segoe UI" panose="020B0502040204020203" pitchFamily="34" charset="0"/>
                  <a:cs typeface="Segoe UI" panose="020B0502040204020203" pitchFamily="34" charset="0"/>
                </a:rPr>
                <a:t> (Media Teams Integration Connector Only)</a:t>
              </a:r>
            </a:p>
            <a:p>
              <a:pPr algn="ctr"/>
              <a:endParaRPr lang="en-US" sz="1400">
                <a:latin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FC82B98C-0321-4A28-9F0E-6A94724B526C}"/>
                </a:ext>
              </a:extLst>
            </p:cNvPr>
            <p:cNvSpPr/>
            <p:nvPr/>
          </p:nvSpPr>
          <p:spPr>
            <a:xfrm>
              <a:off x="4547145" y="2452083"/>
              <a:ext cx="3057503" cy="4198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Apps Teams Integration</a:t>
              </a:r>
            </a:p>
            <a:p>
              <a:pPr algn="ctr"/>
              <a:r>
                <a:rPr lang="en-US" sz="900">
                  <a:latin typeface="Segoe UI" panose="020B0502040204020203" pitchFamily="34" charset="0"/>
                  <a:cs typeface="Segoe UI" panose="020B0502040204020203" pitchFamily="34" charset="0"/>
                </a:rPr>
                <a:t>(Flows and Connection References for Media Teams Integration)</a:t>
              </a:r>
            </a:p>
          </p:txBody>
        </p:sp>
        <p:sp>
          <p:nvSpPr>
            <p:cNvPr id="20" name="Rectangle 19">
              <a:extLst>
                <a:ext uri="{FF2B5EF4-FFF2-40B4-BE49-F238E27FC236}">
                  <a16:creationId xmlns:a16="http://schemas.microsoft.com/office/drawing/2014/main" id="{B2123593-BC6A-4CF3-AF1B-2589D24610C4}"/>
                </a:ext>
              </a:extLst>
            </p:cNvPr>
            <p:cNvSpPr/>
            <p:nvPr/>
          </p:nvSpPr>
          <p:spPr>
            <a:xfrm>
              <a:off x="1530526" y="2460335"/>
              <a:ext cx="2980371" cy="125332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Power Apps Portals</a:t>
              </a:r>
            </a:p>
          </p:txBody>
        </p:sp>
        <p:sp>
          <p:nvSpPr>
            <p:cNvPr id="23" name="Rectangle 22">
              <a:extLst>
                <a:ext uri="{FF2B5EF4-FFF2-40B4-BE49-F238E27FC236}">
                  <a16:creationId xmlns:a16="http://schemas.microsoft.com/office/drawing/2014/main" id="{C987651B-334D-4B13-8CE0-BB9271AF7724}"/>
                </a:ext>
              </a:extLst>
            </p:cNvPr>
            <p:cNvSpPr/>
            <p:nvPr/>
          </p:nvSpPr>
          <p:spPr>
            <a:xfrm>
              <a:off x="1523864" y="1947644"/>
              <a:ext cx="4465606" cy="4484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latin typeface="Segoe UI" panose="020B0502040204020203" pitchFamily="34" charset="0"/>
                  <a:cs typeface="Segoe UI" panose="020B0502040204020203" pitchFamily="34" charset="0"/>
                </a:rPr>
                <a:t>Media Registration Portal</a:t>
              </a:r>
              <a:endParaRPr lang="en-US" sz="1400">
                <a:latin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064AC8D0-A66E-41D5-B6F4-6AC57CBE7996}"/>
                </a:ext>
              </a:extLst>
            </p:cNvPr>
            <p:cNvSpPr/>
            <p:nvPr/>
          </p:nvSpPr>
          <p:spPr>
            <a:xfrm>
              <a:off x="4547145" y="3338236"/>
              <a:ext cx="3057503" cy="373328"/>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1229735303"/>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5C12988-1516-44F3-98CE-97F59A17ADD7}"/>
              </a:ext>
            </a:extLst>
          </p:cNvPr>
          <p:cNvSpPr txBox="1"/>
          <p:nvPr/>
        </p:nvSpPr>
        <p:spPr>
          <a:xfrm flipH="1">
            <a:off x="111508" y="102311"/>
            <a:ext cx="8213886"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Asset CDM -&gt; Primary Tables</a:t>
            </a:r>
          </a:p>
        </p:txBody>
      </p:sp>
      <p:graphicFrame>
        <p:nvGraphicFramePr>
          <p:cNvPr id="13" name="Table 35">
            <a:extLst>
              <a:ext uri="{FF2B5EF4-FFF2-40B4-BE49-F238E27FC236}">
                <a16:creationId xmlns:a16="http://schemas.microsoft.com/office/drawing/2014/main" id="{FC7DAB13-EBB2-4A09-B9D1-5CE62067E5C1}"/>
              </a:ext>
            </a:extLst>
          </p:cNvPr>
          <p:cNvGraphicFramePr>
            <a:graphicFrameLocks noGrp="1"/>
          </p:cNvGraphicFramePr>
          <p:nvPr>
            <p:extLst>
              <p:ext uri="{D42A27DB-BD31-4B8C-83A1-F6EECF244321}">
                <p14:modId xmlns:p14="http://schemas.microsoft.com/office/powerpoint/2010/main" val="2364527681"/>
              </p:ext>
            </p:extLst>
          </p:nvPr>
        </p:nvGraphicFramePr>
        <p:xfrm>
          <a:off x="8897420" y="5037862"/>
          <a:ext cx="2740752" cy="914400"/>
        </p:xfrm>
        <a:graphic>
          <a:graphicData uri="http://schemas.openxmlformats.org/drawingml/2006/table">
            <a:tbl>
              <a:tblPr firstRow="1" bandRow="1">
                <a:tableStyleId>{B301B821-A1FF-4177-AEE7-76D212191A09}</a:tableStyleId>
              </a:tblPr>
              <a:tblGrid>
                <a:gridCol w="2740752">
                  <a:extLst>
                    <a:ext uri="{9D8B030D-6E8A-4147-A177-3AD203B41FA5}">
                      <a16:colId xmlns:a16="http://schemas.microsoft.com/office/drawing/2014/main" val="832068167"/>
                    </a:ext>
                  </a:extLst>
                </a:gridCol>
              </a:tblGrid>
              <a:tr h="0">
                <a:tc>
                  <a:txBody>
                    <a:bodyPr/>
                    <a:lstStyle/>
                    <a:p>
                      <a:r>
                        <a:rPr lang="en-US" sz="1400"/>
                        <a:t>Table Name</a:t>
                      </a:r>
                    </a:p>
                  </a:txBody>
                  <a:tcPr/>
                </a:tc>
                <a:extLst>
                  <a:ext uri="{0D108BD9-81ED-4DB2-BD59-A6C34878D82A}">
                    <a16:rowId xmlns:a16="http://schemas.microsoft.com/office/drawing/2014/main" val="897896226"/>
                  </a:ext>
                </a:extLst>
              </a:tr>
              <a:tr h="299134">
                <a:tc>
                  <a:txBody>
                    <a:bodyPr/>
                    <a:lstStyle/>
                    <a:p>
                      <a:r>
                        <a:rPr lang="en-US" sz="1400"/>
                        <a:t>Media Asset</a:t>
                      </a:r>
                    </a:p>
                  </a:txBody>
                  <a:tcPr/>
                </a:tc>
                <a:extLst>
                  <a:ext uri="{0D108BD9-81ED-4DB2-BD59-A6C34878D82A}">
                    <a16:rowId xmlns:a16="http://schemas.microsoft.com/office/drawing/2014/main" val="3982220006"/>
                  </a:ext>
                </a:extLst>
              </a:tr>
              <a:tr h="299134">
                <a:tc>
                  <a:txBody>
                    <a:bodyPr/>
                    <a:lstStyle/>
                    <a:p>
                      <a:r>
                        <a:rPr lang="en-US" sz="1400"/>
                        <a:t>Media Asset Category</a:t>
                      </a:r>
                    </a:p>
                  </a:txBody>
                  <a:tcPr/>
                </a:tc>
                <a:extLst>
                  <a:ext uri="{0D108BD9-81ED-4DB2-BD59-A6C34878D82A}">
                    <a16:rowId xmlns:a16="http://schemas.microsoft.com/office/drawing/2014/main" val="1759566007"/>
                  </a:ext>
                </a:extLst>
              </a:tr>
            </a:tbl>
          </a:graphicData>
        </a:graphic>
      </p:graphicFrame>
      <p:sp>
        <p:nvSpPr>
          <p:cNvPr id="9" name="Arrow: Right 8">
            <a:extLst>
              <a:ext uri="{FF2B5EF4-FFF2-40B4-BE49-F238E27FC236}">
                <a16:creationId xmlns:a16="http://schemas.microsoft.com/office/drawing/2014/main" id="{A66935F2-8E41-469A-8E88-951EF09B6BC9}"/>
              </a:ext>
            </a:extLst>
          </p:cNvPr>
          <p:cNvSpPr/>
          <p:nvPr/>
        </p:nvSpPr>
        <p:spPr>
          <a:xfrm>
            <a:off x="7746716" y="5304195"/>
            <a:ext cx="1036730" cy="536471"/>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oup 84">
            <a:extLst>
              <a:ext uri="{FF2B5EF4-FFF2-40B4-BE49-F238E27FC236}">
                <a16:creationId xmlns:a16="http://schemas.microsoft.com/office/drawing/2014/main" id="{C7A80BF5-71A3-4003-8B48-42845A4EC048}"/>
              </a:ext>
            </a:extLst>
          </p:cNvPr>
          <p:cNvGrpSpPr/>
          <p:nvPr/>
        </p:nvGrpSpPr>
        <p:grpSpPr>
          <a:xfrm>
            <a:off x="205484" y="1160981"/>
            <a:ext cx="7387118"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86" name="Ink 85">
                  <a:extLst>
                    <a:ext uri="{FF2B5EF4-FFF2-40B4-BE49-F238E27FC236}">
                      <a16:creationId xmlns:a16="http://schemas.microsoft.com/office/drawing/2014/main" id="{8545A7E0-9821-4D1B-A8B2-B020E60CCD3E}"/>
                    </a:ext>
                  </a:extLst>
                </p14:cNvPr>
                <p14:cNvContentPartPr/>
                <p14:nvPr/>
              </p14:nvContentPartPr>
              <p14:xfrm>
                <a:off x="8545730" y="2096877"/>
                <a:ext cx="5040" cy="12637"/>
              </p14:xfrm>
            </p:contentPart>
          </mc:Choice>
          <mc:Fallback>
            <p:pic>
              <p:nvPicPr>
                <p:cNvPr id="86" name="Ink 85">
                  <a:extLst>
                    <a:ext uri="{FF2B5EF4-FFF2-40B4-BE49-F238E27FC236}">
                      <a16:creationId xmlns:a16="http://schemas.microsoft.com/office/drawing/2014/main" id="{8545A7E0-9821-4D1B-A8B2-B020E60CCD3E}"/>
                    </a:ext>
                  </a:extLst>
                </p:cNvPr>
                <p:cNvPicPr/>
                <p:nvPr/>
              </p:nvPicPr>
              <p:blipFill>
                <a:blip r:embed="rId3"/>
                <a:stretch>
                  <a:fillRect/>
                </a:stretch>
              </p:blipFill>
              <p:spPr>
                <a:xfrm>
                  <a:off x="8534275" y="2090009"/>
                  <a:ext cx="27491" cy="26098"/>
                </a:xfrm>
                <a:prstGeom prst="rect">
                  <a:avLst/>
                </a:prstGeom>
              </p:spPr>
            </p:pic>
          </mc:Fallback>
        </mc:AlternateContent>
        <p:sp>
          <p:nvSpPr>
            <p:cNvPr id="87" name="Rectangle 86">
              <a:extLst>
                <a:ext uri="{FF2B5EF4-FFF2-40B4-BE49-F238E27FC236}">
                  <a16:creationId xmlns:a16="http://schemas.microsoft.com/office/drawing/2014/main" id="{C8573E8F-694E-471E-99BF-F6E26AB2DFB6}"/>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88" name="Rectangle 87">
              <a:extLst>
                <a:ext uri="{FF2B5EF4-FFF2-40B4-BE49-F238E27FC236}">
                  <a16:creationId xmlns:a16="http://schemas.microsoft.com/office/drawing/2014/main" id="{01AE8847-3EBF-4FF8-8ACC-C9927FE3CBB2}"/>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89" name="Rectangle 88">
              <a:extLst>
                <a:ext uri="{FF2B5EF4-FFF2-40B4-BE49-F238E27FC236}">
                  <a16:creationId xmlns:a16="http://schemas.microsoft.com/office/drawing/2014/main" id="{009A4432-27D4-458A-876E-B77D4DF3FCED}"/>
                </a:ext>
              </a:extLst>
            </p:cNvPr>
            <p:cNvSpPr/>
            <p:nvPr/>
          </p:nvSpPr>
          <p:spPr>
            <a:xfrm>
              <a:off x="1530526" y="4633921"/>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Common</a:t>
              </a:r>
            </a:p>
          </p:txBody>
        </p:sp>
        <p:sp>
          <p:nvSpPr>
            <p:cNvPr id="90" name="Rectangle 89">
              <a:extLst>
                <a:ext uri="{FF2B5EF4-FFF2-40B4-BE49-F238E27FC236}">
                  <a16:creationId xmlns:a16="http://schemas.microsoft.com/office/drawing/2014/main" id="{D449595B-113D-42EB-ADB1-EF35A5FC0B60}"/>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91" name="Rectangle 90">
              <a:extLst>
                <a:ext uri="{FF2B5EF4-FFF2-40B4-BE49-F238E27FC236}">
                  <a16:creationId xmlns:a16="http://schemas.microsoft.com/office/drawing/2014/main" id="{A0B82B81-E36F-4D3C-8ED4-197986A56C44}"/>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92" name="Rectangle 91">
              <a:extLst>
                <a:ext uri="{FF2B5EF4-FFF2-40B4-BE49-F238E27FC236}">
                  <a16:creationId xmlns:a16="http://schemas.microsoft.com/office/drawing/2014/main" id="{04F2E76D-BEFA-4E89-8C77-0BF91A5A576C}"/>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93" name="Rectangle 92">
              <a:extLst>
                <a:ext uri="{FF2B5EF4-FFF2-40B4-BE49-F238E27FC236}">
                  <a16:creationId xmlns:a16="http://schemas.microsoft.com/office/drawing/2014/main" id="{DB6DED6F-757E-47D6-83E6-7274ABC430A1}"/>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94" name="Rectangle 93">
              <a:extLst>
                <a:ext uri="{FF2B5EF4-FFF2-40B4-BE49-F238E27FC236}">
                  <a16:creationId xmlns:a16="http://schemas.microsoft.com/office/drawing/2014/main" id="{E9949059-B170-4A58-B51A-7619C222A032}"/>
                </a:ext>
              </a:extLst>
            </p:cNvPr>
            <p:cNvSpPr/>
            <p:nvPr/>
          </p:nvSpPr>
          <p:spPr>
            <a:xfrm>
              <a:off x="1523865" y="5074249"/>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Asset CDM</a:t>
              </a:r>
            </a:p>
          </p:txBody>
        </p:sp>
        <p:sp>
          <p:nvSpPr>
            <p:cNvPr id="95" name="Rectangle 94">
              <a:extLst>
                <a:ext uri="{FF2B5EF4-FFF2-40B4-BE49-F238E27FC236}">
                  <a16:creationId xmlns:a16="http://schemas.microsoft.com/office/drawing/2014/main" id="{6A339F39-FD92-4F3A-B575-655A373BFFC9}"/>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96" name="Rectangle 95">
              <a:extLst>
                <a:ext uri="{FF2B5EF4-FFF2-40B4-BE49-F238E27FC236}">
                  <a16:creationId xmlns:a16="http://schemas.microsoft.com/office/drawing/2014/main" id="{65F34D04-D4EF-40EC-A6C5-1CFEB3FF9D24}"/>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97" name="Rectangle 96">
              <a:extLst>
                <a:ext uri="{FF2B5EF4-FFF2-40B4-BE49-F238E27FC236}">
                  <a16:creationId xmlns:a16="http://schemas.microsoft.com/office/drawing/2014/main" id="{5E473D54-83F8-42B2-9CFB-5FDE38A4962B}"/>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98" name="Rectangle 97">
              <a:extLst>
                <a:ext uri="{FF2B5EF4-FFF2-40B4-BE49-F238E27FC236}">
                  <a16:creationId xmlns:a16="http://schemas.microsoft.com/office/drawing/2014/main" id="{A8CD35C1-F59D-400F-96DC-D0CDC4409F09}"/>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99" name="Rectangle 98">
              <a:extLst>
                <a:ext uri="{FF2B5EF4-FFF2-40B4-BE49-F238E27FC236}">
                  <a16:creationId xmlns:a16="http://schemas.microsoft.com/office/drawing/2014/main" id="{C6F396F1-7080-4583-97FE-66C9FD03346F}"/>
                </a:ext>
              </a:extLst>
            </p:cNvPr>
            <p:cNvSpPr/>
            <p:nvPr/>
          </p:nvSpPr>
          <p:spPr>
            <a:xfrm>
              <a:off x="1523864" y="1947644"/>
              <a:ext cx="4365464"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100" name="Rectangle 99">
              <a:extLst>
                <a:ext uri="{FF2B5EF4-FFF2-40B4-BE49-F238E27FC236}">
                  <a16:creationId xmlns:a16="http://schemas.microsoft.com/office/drawing/2014/main" id="{35DDEBA5-953E-488D-A7D9-163C5BE77902}"/>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2059851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C45B8-4983-4FFB-BD8B-B2F43686E476}"/>
              </a:ext>
            </a:extLst>
          </p:cNvPr>
          <p:cNvSpPr txBox="1"/>
          <p:nvPr/>
        </p:nvSpPr>
        <p:spPr>
          <a:xfrm flipH="1">
            <a:off x="152606" y="54686"/>
            <a:ext cx="8408114"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Common -&gt; Primary Tables</a:t>
            </a:r>
          </a:p>
        </p:txBody>
      </p:sp>
      <p:graphicFrame>
        <p:nvGraphicFramePr>
          <p:cNvPr id="35" name="Table 35">
            <a:extLst>
              <a:ext uri="{FF2B5EF4-FFF2-40B4-BE49-F238E27FC236}">
                <a16:creationId xmlns:a16="http://schemas.microsoft.com/office/drawing/2014/main" id="{8ED9BE5A-E89B-43D7-B6FE-223D219DC8AD}"/>
              </a:ext>
            </a:extLst>
          </p:cNvPr>
          <p:cNvGraphicFramePr>
            <a:graphicFrameLocks noGrp="1"/>
          </p:cNvGraphicFramePr>
          <p:nvPr>
            <p:extLst>
              <p:ext uri="{D42A27DB-BD31-4B8C-83A1-F6EECF244321}">
                <p14:modId xmlns:p14="http://schemas.microsoft.com/office/powerpoint/2010/main" val="2218183175"/>
              </p:ext>
            </p:extLst>
          </p:nvPr>
        </p:nvGraphicFramePr>
        <p:xfrm>
          <a:off x="8465905" y="1705899"/>
          <a:ext cx="3413657" cy="4618320"/>
        </p:xfrm>
        <a:graphic>
          <a:graphicData uri="http://schemas.openxmlformats.org/drawingml/2006/table">
            <a:tbl>
              <a:tblPr firstRow="1" bandRow="1">
                <a:tableStyleId>{B301B821-A1FF-4177-AEE7-76D212191A09}</a:tableStyleId>
              </a:tblPr>
              <a:tblGrid>
                <a:gridCol w="3413657">
                  <a:extLst>
                    <a:ext uri="{9D8B030D-6E8A-4147-A177-3AD203B41FA5}">
                      <a16:colId xmlns:a16="http://schemas.microsoft.com/office/drawing/2014/main" val="832068167"/>
                    </a:ext>
                  </a:extLst>
                </a:gridCol>
              </a:tblGrid>
              <a:tr h="329880">
                <a:tc>
                  <a:txBody>
                    <a:bodyPr/>
                    <a:lstStyle/>
                    <a:p>
                      <a:r>
                        <a:rPr lang="en-US" sz="1400"/>
                        <a:t>Entity Name</a:t>
                      </a:r>
                    </a:p>
                  </a:txBody>
                  <a:tcPr/>
                </a:tc>
                <a:extLst>
                  <a:ext uri="{0D108BD9-81ED-4DB2-BD59-A6C34878D82A}">
                    <a16:rowId xmlns:a16="http://schemas.microsoft.com/office/drawing/2014/main" val="3976600296"/>
                  </a:ext>
                </a:extLst>
              </a:tr>
              <a:tr h="329880">
                <a:tc>
                  <a:txBody>
                    <a:bodyPr/>
                    <a:lstStyle/>
                    <a:p>
                      <a:r>
                        <a:rPr lang="en-US" sz="1400"/>
                        <a:t>Business Role</a:t>
                      </a:r>
                    </a:p>
                  </a:txBody>
                  <a:tcPr/>
                </a:tc>
                <a:extLst>
                  <a:ext uri="{0D108BD9-81ED-4DB2-BD59-A6C34878D82A}">
                    <a16:rowId xmlns:a16="http://schemas.microsoft.com/office/drawing/2014/main" val="897896226"/>
                  </a:ext>
                </a:extLst>
              </a:tr>
              <a:tr h="329880">
                <a:tc>
                  <a:txBody>
                    <a:bodyPr/>
                    <a:lstStyle/>
                    <a:p>
                      <a:r>
                        <a:rPr lang="en-US" sz="1400"/>
                        <a:t>TMA</a:t>
                      </a:r>
                    </a:p>
                  </a:txBody>
                  <a:tcPr/>
                </a:tc>
                <a:extLst>
                  <a:ext uri="{0D108BD9-81ED-4DB2-BD59-A6C34878D82A}">
                    <a16:rowId xmlns:a16="http://schemas.microsoft.com/office/drawing/2014/main" val="3582976416"/>
                  </a:ext>
                </a:extLst>
              </a:tr>
              <a:tr h="329880">
                <a:tc>
                  <a:txBody>
                    <a:bodyPr/>
                    <a:lstStyle/>
                    <a:p>
                      <a:r>
                        <a:rPr lang="en-US" sz="1400"/>
                        <a:t>External Guest ID</a:t>
                      </a:r>
                    </a:p>
                  </a:txBody>
                  <a:tcPr/>
                </a:tc>
                <a:extLst>
                  <a:ext uri="{0D108BD9-81ED-4DB2-BD59-A6C34878D82A}">
                    <a16:rowId xmlns:a16="http://schemas.microsoft.com/office/drawing/2014/main" val="1842794880"/>
                  </a:ext>
                </a:extLst>
              </a:tr>
              <a:tr h="329880">
                <a:tc>
                  <a:txBody>
                    <a:bodyPr/>
                    <a:lstStyle/>
                    <a:p>
                      <a:r>
                        <a:rPr lang="en-US" sz="1400"/>
                        <a:t>Guest</a:t>
                      </a:r>
                    </a:p>
                  </a:txBody>
                  <a:tcPr/>
                </a:tc>
                <a:extLst>
                  <a:ext uri="{0D108BD9-81ED-4DB2-BD59-A6C34878D82A}">
                    <a16:rowId xmlns:a16="http://schemas.microsoft.com/office/drawing/2014/main" val="1872078294"/>
                  </a:ext>
                </a:extLst>
              </a:tr>
              <a:tr h="329880">
                <a:tc>
                  <a:txBody>
                    <a:bodyPr/>
                    <a:lstStyle/>
                    <a:p>
                      <a:r>
                        <a:rPr lang="en-US" sz="1400"/>
                        <a:t>Guest Category</a:t>
                      </a:r>
                    </a:p>
                  </a:txBody>
                  <a:tcPr/>
                </a:tc>
                <a:extLst>
                  <a:ext uri="{0D108BD9-81ED-4DB2-BD59-A6C34878D82A}">
                    <a16:rowId xmlns:a16="http://schemas.microsoft.com/office/drawing/2014/main" val="3690877147"/>
                  </a:ext>
                </a:extLst>
              </a:tr>
              <a:tr h="329880">
                <a:tc>
                  <a:txBody>
                    <a:bodyPr/>
                    <a:lstStyle/>
                    <a:p>
                      <a:r>
                        <a:rPr lang="en-US" sz="1400"/>
                        <a:t>Interest</a:t>
                      </a:r>
                    </a:p>
                  </a:txBody>
                  <a:tcPr/>
                </a:tc>
                <a:extLst>
                  <a:ext uri="{0D108BD9-81ED-4DB2-BD59-A6C34878D82A}">
                    <a16:rowId xmlns:a16="http://schemas.microsoft.com/office/drawing/2014/main" val="970915486"/>
                  </a:ext>
                </a:extLst>
              </a:tr>
              <a:tr h="329880">
                <a:tc>
                  <a:txBody>
                    <a:bodyPr/>
                    <a:lstStyle/>
                    <a:p>
                      <a:r>
                        <a:rPr lang="en-US" sz="1400"/>
                        <a:t>Loyalty Level</a:t>
                      </a:r>
                    </a:p>
                  </a:txBody>
                  <a:tcPr/>
                </a:tc>
                <a:extLst>
                  <a:ext uri="{0D108BD9-81ED-4DB2-BD59-A6C34878D82A}">
                    <a16:rowId xmlns:a16="http://schemas.microsoft.com/office/drawing/2014/main" val="4079358696"/>
                  </a:ext>
                </a:extLst>
              </a:tr>
              <a:tr h="329880">
                <a:tc>
                  <a:txBody>
                    <a:bodyPr/>
                    <a:lstStyle/>
                    <a:p>
                      <a:r>
                        <a:rPr lang="en-US" sz="1400"/>
                        <a:t>Loyalty Program</a:t>
                      </a:r>
                    </a:p>
                  </a:txBody>
                  <a:tcPr/>
                </a:tc>
                <a:extLst>
                  <a:ext uri="{0D108BD9-81ED-4DB2-BD59-A6C34878D82A}">
                    <a16:rowId xmlns:a16="http://schemas.microsoft.com/office/drawing/2014/main" val="2001159316"/>
                  </a:ext>
                </a:extLst>
              </a:tr>
              <a:tr h="329880">
                <a:tc>
                  <a:txBody>
                    <a:bodyPr/>
                    <a:lstStyle/>
                    <a:p>
                      <a:r>
                        <a:rPr lang="en-US" sz="1400"/>
                        <a:t>Loyalty Program Account</a:t>
                      </a:r>
                    </a:p>
                  </a:txBody>
                  <a:tcPr/>
                </a:tc>
                <a:extLst>
                  <a:ext uri="{0D108BD9-81ED-4DB2-BD59-A6C34878D82A}">
                    <a16:rowId xmlns:a16="http://schemas.microsoft.com/office/drawing/2014/main" val="1022263111"/>
                  </a:ext>
                </a:extLst>
              </a:tr>
              <a:tr h="329880">
                <a:tc>
                  <a:txBody>
                    <a:bodyPr/>
                    <a:lstStyle/>
                    <a:p>
                      <a:r>
                        <a:rPr lang="en-US" sz="1400"/>
                        <a:t>Region</a:t>
                      </a:r>
                    </a:p>
                  </a:txBody>
                  <a:tcPr/>
                </a:tc>
                <a:extLst>
                  <a:ext uri="{0D108BD9-81ED-4DB2-BD59-A6C34878D82A}">
                    <a16:rowId xmlns:a16="http://schemas.microsoft.com/office/drawing/2014/main" val="3260924787"/>
                  </a:ext>
                </a:extLst>
              </a:tr>
              <a:tr h="329880">
                <a:tc>
                  <a:txBody>
                    <a:bodyPr/>
                    <a:lstStyle/>
                    <a:p>
                      <a:r>
                        <a:rPr lang="en-US" sz="1400"/>
                        <a:t>Season</a:t>
                      </a:r>
                    </a:p>
                  </a:txBody>
                  <a:tcPr/>
                </a:tc>
                <a:extLst>
                  <a:ext uri="{0D108BD9-81ED-4DB2-BD59-A6C34878D82A}">
                    <a16:rowId xmlns:a16="http://schemas.microsoft.com/office/drawing/2014/main" val="1076281896"/>
                  </a:ext>
                </a:extLst>
              </a:tr>
              <a:tr h="329880">
                <a:tc>
                  <a:txBody>
                    <a:bodyPr/>
                    <a:lstStyle/>
                    <a:p>
                      <a:r>
                        <a:rPr lang="en-US" sz="1400"/>
                        <a:t>Talent</a:t>
                      </a:r>
                    </a:p>
                  </a:txBody>
                  <a:tcPr/>
                </a:tc>
                <a:extLst>
                  <a:ext uri="{0D108BD9-81ED-4DB2-BD59-A6C34878D82A}">
                    <a16:rowId xmlns:a16="http://schemas.microsoft.com/office/drawing/2014/main" val="1165500715"/>
                  </a:ext>
                </a:extLst>
              </a:tr>
              <a:tr h="329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hree Digit Zip Code</a:t>
                      </a:r>
                    </a:p>
                  </a:txBody>
                  <a:tcPr/>
                </a:tc>
                <a:extLst>
                  <a:ext uri="{0D108BD9-81ED-4DB2-BD59-A6C34878D82A}">
                    <a16:rowId xmlns:a16="http://schemas.microsoft.com/office/drawing/2014/main" val="145385211"/>
                  </a:ext>
                </a:extLst>
              </a:tr>
            </a:tbl>
          </a:graphicData>
        </a:graphic>
      </p:graphicFrame>
      <p:sp>
        <p:nvSpPr>
          <p:cNvPr id="37" name="Arrow: Right 36">
            <a:extLst>
              <a:ext uri="{FF2B5EF4-FFF2-40B4-BE49-F238E27FC236}">
                <a16:creationId xmlns:a16="http://schemas.microsoft.com/office/drawing/2014/main" id="{C1B9BF59-FD78-4598-AEEA-8D4C555B37D4}"/>
              </a:ext>
            </a:extLst>
          </p:cNvPr>
          <p:cNvSpPr/>
          <p:nvPr/>
        </p:nvSpPr>
        <p:spPr>
          <a:xfrm>
            <a:off x="7347425" y="4702829"/>
            <a:ext cx="978408" cy="601366"/>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C91A2870-7D5F-46F3-995C-2F41CCC732EB}"/>
              </a:ext>
            </a:extLst>
          </p:cNvPr>
          <p:cNvGrpSpPr/>
          <p:nvPr/>
        </p:nvGrpSpPr>
        <p:grpSpPr>
          <a:xfrm>
            <a:off x="205484" y="1160981"/>
            <a:ext cx="7006974"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31" name="Ink 30">
                  <a:extLst>
                    <a:ext uri="{FF2B5EF4-FFF2-40B4-BE49-F238E27FC236}">
                      <a16:creationId xmlns:a16="http://schemas.microsoft.com/office/drawing/2014/main" id="{D36555DA-F7FB-44E3-9599-117AC094D31F}"/>
                    </a:ext>
                  </a:extLst>
                </p14:cNvPr>
                <p14:cNvContentPartPr/>
                <p14:nvPr/>
              </p14:nvContentPartPr>
              <p14:xfrm>
                <a:off x="8545730" y="2096877"/>
                <a:ext cx="5040" cy="12637"/>
              </p14:xfrm>
            </p:contentPart>
          </mc:Choice>
          <mc:Fallback>
            <p:pic>
              <p:nvPicPr>
                <p:cNvPr id="31" name="Ink 30">
                  <a:extLst>
                    <a:ext uri="{FF2B5EF4-FFF2-40B4-BE49-F238E27FC236}">
                      <a16:creationId xmlns:a16="http://schemas.microsoft.com/office/drawing/2014/main" id="{D36555DA-F7FB-44E3-9599-117AC094D31F}"/>
                    </a:ext>
                  </a:extLst>
                </p:cNvPr>
                <p:cNvPicPr/>
                <p:nvPr/>
              </p:nvPicPr>
              <p:blipFill>
                <a:blip r:embed="rId3"/>
                <a:stretch>
                  <a:fillRect/>
                </a:stretch>
              </p:blipFill>
              <p:spPr>
                <a:xfrm>
                  <a:off x="8534275" y="2090009"/>
                  <a:ext cx="27491" cy="26098"/>
                </a:xfrm>
                <a:prstGeom prst="rect">
                  <a:avLst/>
                </a:prstGeom>
              </p:spPr>
            </p:pic>
          </mc:Fallback>
        </mc:AlternateContent>
        <p:sp>
          <p:nvSpPr>
            <p:cNvPr id="32" name="Rectangle 31">
              <a:extLst>
                <a:ext uri="{FF2B5EF4-FFF2-40B4-BE49-F238E27FC236}">
                  <a16:creationId xmlns:a16="http://schemas.microsoft.com/office/drawing/2014/main" id="{595F3599-90BF-46B4-8F7D-111EA3AE91A0}"/>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33" name="Rectangle 32">
              <a:extLst>
                <a:ext uri="{FF2B5EF4-FFF2-40B4-BE49-F238E27FC236}">
                  <a16:creationId xmlns:a16="http://schemas.microsoft.com/office/drawing/2014/main" id="{9CB4F74B-09A1-470A-8100-29DE25B02EC9}"/>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34" name="Rectangle 33">
              <a:extLst>
                <a:ext uri="{FF2B5EF4-FFF2-40B4-BE49-F238E27FC236}">
                  <a16:creationId xmlns:a16="http://schemas.microsoft.com/office/drawing/2014/main" id="{E58407A2-45A8-4B5C-8BEF-653BE93D35D6}"/>
                </a:ext>
              </a:extLst>
            </p:cNvPr>
            <p:cNvSpPr/>
            <p:nvPr/>
          </p:nvSpPr>
          <p:spPr>
            <a:xfrm>
              <a:off x="1530526" y="4633921"/>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Common</a:t>
              </a:r>
            </a:p>
          </p:txBody>
        </p:sp>
        <p:sp>
          <p:nvSpPr>
            <p:cNvPr id="36" name="Rectangle 35">
              <a:extLst>
                <a:ext uri="{FF2B5EF4-FFF2-40B4-BE49-F238E27FC236}">
                  <a16:creationId xmlns:a16="http://schemas.microsoft.com/office/drawing/2014/main" id="{7EF268BC-9566-41FE-8C3E-B141E9C4F55A}"/>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38" name="Rectangle 37">
              <a:extLst>
                <a:ext uri="{FF2B5EF4-FFF2-40B4-BE49-F238E27FC236}">
                  <a16:creationId xmlns:a16="http://schemas.microsoft.com/office/drawing/2014/main" id="{80401023-88CC-409A-B44D-BE4F7C7093C6}"/>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39" name="Rectangle 38">
              <a:extLst>
                <a:ext uri="{FF2B5EF4-FFF2-40B4-BE49-F238E27FC236}">
                  <a16:creationId xmlns:a16="http://schemas.microsoft.com/office/drawing/2014/main" id="{8A04A439-2D0C-4545-A848-5DFEC279CF19}"/>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40" name="Rectangle 39">
              <a:extLst>
                <a:ext uri="{FF2B5EF4-FFF2-40B4-BE49-F238E27FC236}">
                  <a16:creationId xmlns:a16="http://schemas.microsoft.com/office/drawing/2014/main" id="{486C76F6-C1A7-4D7D-95E6-63DA31066605}"/>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C9822E3C-AADA-45AA-A34C-7DD144B4E0B2}"/>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42" name="Rectangle 41">
              <a:extLst>
                <a:ext uri="{FF2B5EF4-FFF2-40B4-BE49-F238E27FC236}">
                  <a16:creationId xmlns:a16="http://schemas.microsoft.com/office/drawing/2014/main" id="{1C15966E-B361-4CC9-B49A-37DB3355AACC}"/>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3" name="Rectangle 42">
              <a:extLst>
                <a:ext uri="{FF2B5EF4-FFF2-40B4-BE49-F238E27FC236}">
                  <a16:creationId xmlns:a16="http://schemas.microsoft.com/office/drawing/2014/main" id="{1E25EF67-D6D3-46F7-958B-56D2577FB4F7}"/>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ADA69447-E5D3-4FEB-9EE5-878D14C49CFC}"/>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45" name="Rectangle 44">
              <a:extLst>
                <a:ext uri="{FF2B5EF4-FFF2-40B4-BE49-F238E27FC236}">
                  <a16:creationId xmlns:a16="http://schemas.microsoft.com/office/drawing/2014/main" id="{EC989EF8-552D-4B10-8FA9-0E9597B7A728}"/>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46" name="Rectangle 45">
              <a:extLst>
                <a:ext uri="{FF2B5EF4-FFF2-40B4-BE49-F238E27FC236}">
                  <a16:creationId xmlns:a16="http://schemas.microsoft.com/office/drawing/2014/main" id="{E116A2D6-F9A6-4FD5-A6C2-26F6BCBE6D52}"/>
                </a:ext>
              </a:extLst>
            </p:cNvPr>
            <p:cNvSpPr/>
            <p:nvPr/>
          </p:nvSpPr>
          <p:spPr>
            <a:xfrm>
              <a:off x="1523864" y="1947644"/>
              <a:ext cx="440103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A52A371E-3788-419D-8647-3A64F020551C}"/>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25840296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07C45B8-4983-4FFB-BD8B-B2F43686E476}"/>
              </a:ext>
            </a:extLst>
          </p:cNvPr>
          <p:cNvSpPr txBox="1"/>
          <p:nvPr/>
        </p:nvSpPr>
        <p:spPr>
          <a:xfrm flipH="1">
            <a:off x="203975" y="83836"/>
            <a:ext cx="8334099" cy="523220"/>
          </a:xfrm>
          <a:prstGeom prst="rect">
            <a:avLst/>
          </a:prstGeom>
          <a:noFill/>
        </p:spPr>
        <p:txBody>
          <a:bodyPr wrap="square" rtlCol="0">
            <a:spAutoFit/>
          </a:bodyPr>
          <a:lstStyle/>
          <a:p>
            <a:r>
              <a:rPr lang="en-US" sz="2800" b="1" spc="-50">
                <a:solidFill>
                  <a:prstClr val="black"/>
                </a:solidFill>
                <a:latin typeface="Segoe UI Semibold" panose="020B0502040204020203" pitchFamily="34" charset="0"/>
                <a:ea typeface="+mj-ea"/>
                <a:cs typeface="Segoe UI Semibold" panose="020B0502040204020203" pitchFamily="34" charset="0"/>
              </a:rPr>
              <a:t>Media Common -&gt; Enriched Tables</a:t>
            </a:r>
          </a:p>
        </p:txBody>
      </p:sp>
      <p:graphicFrame>
        <p:nvGraphicFramePr>
          <p:cNvPr id="35" name="Table 35">
            <a:extLst>
              <a:ext uri="{FF2B5EF4-FFF2-40B4-BE49-F238E27FC236}">
                <a16:creationId xmlns:a16="http://schemas.microsoft.com/office/drawing/2014/main" id="{8ED9BE5A-E89B-43D7-B6FE-223D219DC8AD}"/>
              </a:ext>
            </a:extLst>
          </p:cNvPr>
          <p:cNvGraphicFramePr>
            <a:graphicFrameLocks noGrp="1"/>
          </p:cNvGraphicFramePr>
          <p:nvPr>
            <p:extLst>
              <p:ext uri="{D42A27DB-BD31-4B8C-83A1-F6EECF244321}">
                <p14:modId xmlns:p14="http://schemas.microsoft.com/office/powerpoint/2010/main" val="2661840422"/>
              </p:ext>
            </p:extLst>
          </p:nvPr>
        </p:nvGraphicFramePr>
        <p:xfrm>
          <a:off x="8054939" y="4084716"/>
          <a:ext cx="3819832" cy="1536446"/>
        </p:xfrm>
        <a:graphic>
          <a:graphicData uri="http://schemas.openxmlformats.org/drawingml/2006/table">
            <a:tbl>
              <a:tblPr firstRow="1" bandRow="1">
                <a:tableStyleId>{B301B821-A1FF-4177-AEE7-76D212191A09}</a:tableStyleId>
              </a:tblPr>
              <a:tblGrid>
                <a:gridCol w="1909916">
                  <a:extLst>
                    <a:ext uri="{9D8B030D-6E8A-4147-A177-3AD203B41FA5}">
                      <a16:colId xmlns:a16="http://schemas.microsoft.com/office/drawing/2014/main" val="832068167"/>
                    </a:ext>
                  </a:extLst>
                </a:gridCol>
                <a:gridCol w="1909916">
                  <a:extLst>
                    <a:ext uri="{9D8B030D-6E8A-4147-A177-3AD203B41FA5}">
                      <a16:colId xmlns:a16="http://schemas.microsoft.com/office/drawing/2014/main" val="941840769"/>
                    </a:ext>
                  </a:extLst>
                </a:gridCol>
              </a:tblGrid>
              <a:tr h="349410">
                <a:tc>
                  <a:txBody>
                    <a:bodyPr/>
                    <a:lstStyle/>
                    <a:p>
                      <a:r>
                        <a:rPr lang="en-US" sz="1400"/>
                        <a:t>Entity Name</a:t>
                      </a:r>
                    </a:p>
                  </a:txBody>
                  <a:tcPr/>
                </a:tc>
                <a:tc>
                  <a:txBody>
                    <a:bodyPr/>
                    <a:lstStyle/>
                    <a:p>
                      <a:r>
                        <a:rPr lang="en-US" sz="1400"/>
                        <a:t>Source</a:t>
                      </a:r>
                    </a:p>
                  </a:txBody>
                  <a:tcPr/>
                </a:tc>
                <a:extLst>
                  <a:ext uri="{0D108BD9-81ED-4DB2-BD59-A6C34878D82A}">
                    <a16:rowId xmlns:a16="http://schemas.microsoft.com/office/drawing/2014/main" val="897896226"/>
                  </a:ext>
                </a:extLst>
              </a:tr>
              <a:tr h="349410">
                <a:tc>
                  <a:txBody>
                    <a:bodyPr/>
                    <a:lstStyle/>
                    <a:p>
                      <a:r>
                        <a:rPr lang="en-US" sz="1400"/>
                        <a:t>Contact</a:t>
                      </a:r>
                    </a:p>
                  </a:txBody>
                  <a:tcPr/>
                </a:tc>
                <a:tc>
                  <a:txBody>
                    <a:bodyPr/>
                    <a:lstStyle/>
                    <a:p>
                      <a:r>
                        <a:rPr lang="en-US" sz="1400"/>
                        <a:t>CDM Common</a:t>
                      </a:r>
                    </a:p>
                  </a:txBody>
                  <a:tcPr/>
                </a:tc>
                <a:extLst>
                  <a:ext uri="{0D108BD9-81ED-4DB2-BD59-A6C34878D82A}">
                    <a16:rowId xmlns:a16="http://schemas.microsoft.com/office/drawing/2014/main" val="1842794880"/>
                  </a:ext>
                </a:extLst>
              </a:tr>
              <a:tr h="349410">
                <a:tc>
                  <a:txBody>
                    <a:bodyPr/>
                    <a:lstStyle/>
                    <a:p>
                      <a:r>
                        <a:rPr lang="en-US" sz="1400"/>
                        <a:t>Media Asset</a:t>
                      </a:r>
                    </a:p>
                  </a:txBody>
                  <a:tcPr/>
                </a:tc>
                <a:tc>
                  <a:txBody>
                    <a:bodyPr/>
                    <a:lstStyle/>
                    <a:p>
                      <a:r>
                        <a:rPr lang="en-US" sz="1400"/>
                        <a:t>Media Asset CDM</a:t>
                      </a:r>
                    </a:p>
                  </a:txBody>
                  <a:tcPr/>
                </a:tc>
                <a:extLst>
                  <a:ext uri="{0D108BD9-81ED-4DB2-BD59-A6C34878D82A}">
                    <a16:rowId xmlns:a16="http://schemas.microsoft.com/office/drawing/2014/main" val="1887813983"/>
                  </a:ext>
                </a:extLst>
              </a:tr>
              <a:tr h="488216">
                <a:tc>
                  <a:txBody>
                    <a:bodyPr/>
                    <a:lstStyle/>
                    <a:p>
                      <a:r>
                        <a:rPr lang="en-US" sz="1400"/>
                        <a:t>Media Asset 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Media Asset CDM</a:t>
                      </a:r>
                    </a:p>
                  </a:txBody>
                  <a:tcPr/>
                </a:tc>
                <a:extLst>
                  <a:ext uri="{0D108BD9-81ED-4DB2-BD59-A6C34878D82A}">
                    <a16:rowId xmlns:a16="http://schemas.microsoft.com/office/drawing/2014/main" val="2241595533"/>
                  </a:ext>
                </a:extLst>
              </a:tr>
            </a:tbl>
          </a:graphicData>
        </a:graphic>
      </p:graphicFrame>
      <p:sp>
        <p:nvSpPr>
          <p:cNvPr id="37" name="Arrow: Right 36">
            <a:extLst>
              <a:ext uri="{FF2B5EF4-FFF2-40B4-BE49-F238E27FC236}">
                <a16:creationId xmlns:a16="http://schemas.microsoft.com/office/drawing/2014/main" id="{C1B9BF59-FD78-4598-AEEA-8D4C555B37D4}"/>
              </a:ext>
            </a:extLst>
          </p:cNvPr>
          <p:cNvSpPr/>
          <p:nvPr/>
        </p:nvSpPr>
        <p:spPr>
          <a:xfrm>
            <a:off x="6851133" y="4675908"/>
            <a:ext cx="978408" cy="594928"/>
          </a:xfrm>
          <a:prstGeom prst="rightArrow">
            <a:avLst/>
          </a:prstGeom>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a:extLst>
              <a:ext uri="{FF2B5EF4-FFF2-40B4-BE49-F238E27FC236}">
                <a16:creationId xmlns:a16="http://schemas.microsoft.com/office/drawing/2014/main" id="{E454D88A-E158-4E76-B8B6-01BCA6369C77}"/>
              </a:ext>
            </a:extLst>
          </p:cNvPr>
          <p:cNvGrpSpPr/>
          <p:nvPr/>
        </p:nvGrpSpPr>
        <p:grpSpPr>
          <a:xfrm>
            <a:off x="205484" y="1160981"/>
            <a:ext cx="6503541" cy="5232062"/>
            <a:chOff x="1523864" y="1947644"/>
            <a:chExt cx="9150929" cy="3948285"/>
          </a:xfrm>
        </p:grpSpPr>
        <mc:AlternateContent xmlns:mc="http://schemas.openxmlformats.org/markup-compatibility/2006">
          <mc:Choice xmlns:p14="http://schemas.microsoft.com/office/powerpoint/2010/main" Requires="p14">
            <p:contentPart p14:bwMode="auto" r:id="rId2">
              <p14:nvContentPartPr>
                <p14:cNvPr id="32" name="Ink 31">
                  <a:extLst>
                    <a:ext uri="{FF2B5EF4-FFF2-40B4-BE49-F238E27FC236}">
                      <a16:creationId xmlns:a16="http://schemas.microsoft.com/office/drawing/2014/main" id="{602024BA-A542-4010-8036-D1C934CCFE28}"/>
                    </a:ext>
                  </a:extLst>
                </p14:cNvPr>
                <p14:cNvContentPartPr/>
                <p14:nvPr/>
              </p14:nvContentPartPr>
              <p14:xfrm>
                <a:off x="8545730" y="2096877"/>
                <a:ext cx="5040" cy="12637"/>
              </p14:xfrm>
            </p:contentPart>
          </mc:Choice>
          <mc:Fallback>
            <p:pic>
              <p:nvPicPr>
                <p:cNvPr id="32" name="Ink 31">
                  <a:extLst>
                    <a:ext uri="{FF2B5EF4-FFF2-40B4-BE49-F238E27FC236}">
                      <a16:creationId xmlns:a16="http://schemas.microsoft.com/office/drawing/2014/main" id="{602024BA-A542-4010-8036-D1C934CCFE28}"/>
                    </a:ext>
                  </a:extLst>
                </p:cNvPr>
                <p:cNvPicPr/>
                <p:nvPr/>
              </p:nvPicPr>
              <p:blipFill>
                <a:blip r:embed="rId3"/>
                <a:stretch>
                  <a:fillRect/>
                </a:stretch>
              </p:blipFill>
              <p:spPr>
                <a:xfrm>
                  <a:off x="8533130" y="2090009"/>
                  <a:ext cx="29736" cy="26098"/>
                </a:xfrm>
                <a:prstGeom prst="rect">
                  <a:avLst/>
                </a:prstGeom>
              </p:spPr>
            </p:pic>
          </mc:Fallback>
        </mc:AlternateContent>
        <p:sp>
          <p:nvSpPr>
            <p:cNvPr id="33" name="Rectangle 32">
              <a:extLst>
                <a:ext uri="{FF2B5EF4-FFF2-40B4-BE49-F238E27FC236}">
                  <a16:creationId xmlns:a16="http://schemas.microsoft.com/office/drawing/2014/main" id="{B5AF1145-1A87-47EB-B89A-C83AF2EDECB5}"/>
                </a:ext>
              </a:extLst>
            </p:cNvPr>
            <p:cNvSpPr/>
            <p:nvPr/>
          </p:nvSpPr>
          <p:spPr>
            <a:xfrm>
              <a:off x="1523864" y="5514573"/>
              <a:ext cx="9144263"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icrosoft Dataverse</a:t>
              </a:r>
            </a:p>
          </p:txBody>
        </p:sp>
        <p:sp>
          <p:nvSpPr>
            <p:cNvPr id="34" name="Rectangle 33">
              <a:extLst>
                <a:ext uri="{FF2B5EF4-FFF2-40B4-BE49-F238E27FC236}">
                  <a16:creationId xmlns:a16="http://schemas.microsoft.com/office/drawing/2014/main" id="{73D1F61F-1E18-4455-8753-8D5323EECB5C}"/>
                </a:ext>
              </a:extLst>
            </p:cNvPr>
            <p:cNvSpPr/>
            <p:nvPr/>
          </p:nvSpPr>
          <p:spPr>
            <a:xfrm>
              <a:off x="7640896" y="3332304"/>
              <a:ext cx="3027231" cy="381356"/>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Dynamics 365 Sales</a:t>
              </a:r>
            </a:p>
          </p:txBody>
        </p:sp>
        <p:sp>
          <p:nvSpPr>
            <p:cNvPr id="36" name="Rectangle 35">
              <a:extLst>
                <a:ext uri="{FF2B5EF4-FFF2-40B4-BE49-F238E27FC236}">
                  <a16:creationId xmlns:a16="http://schemas.microsoft.com/office/drawing/2014/main" id="{5A7EFA07-57EC-4064-9ED9-C92240A91375}"/>
                </a:ext>
              </a:extLst>
            </p:cNvPr>
            <p:cNvSpPr/>
            <p:nvPr/>
          </p:nvSpPr>
          <p:spPr>
            <a:xfrm>
              <a:off x="1530526" y="4633921"/>
              <a:ext cx="9144263" cy="381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Segoe UI" panose="020B0502040204020203" pitchFamily="34" charset="0"/>
                  <a:cs typeface="Segoe UI" panose="020B0502040204020203" pitchFamily="34" charset="0"/>
                </a:rPr>
                <a:t>Media Common</a:t>
              </a:r>
            </a:p>
          </p:txBody>
        </p:sp>
        <p:sp>
          <p:nvSpPr>
            <p:cNvPr id="38" name="Rectangle 37">
              <a:extLst>
                <a:ext uri="{FF2B5EF4-FFF2-40B4-BE49-F238E27FC236}">
                  <a16:creationId xmlns:a16="http://schemas.microsoft.com/office/drawing/2014/main" id="{8C29170D-B288-412A-9B9D-14EE8829A7D6}"/>
                </a:ext>
              </a:extLst>
            </p:cNvPr>
            <p:cNvSpPr/>
            <p:nvPr/>
          </p:nvSpPr>
          <p:spPr>
            <a:xfrm>
              <a:off x="1530530" y="4193592"/>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s &amp; Venues</a:t>
              </a:r>
            </a:p>
          </p:txBody>
        </p:sp>
        <p:sp>
          <p:nvSpPr>
            <p:cNvPr id="39" name="Rectangle 38">
              <a:extLst>
                <a:ext uri="{FF2B5EF4-FFF2-40B4-BE49-F238E27FC236}">
                  <a16:creationId xmlns:a16="http://schemas.microsoft.com/office/drawing/2014/main" id="{A562BD0E-B675-404A-8187-206774A8032A}"/>
                </a:ext>
              </a:extLst>
            </p:cNvPr>
            <p:cNvSpPr/>
            <p:nvPr/>
          </p:nvSpPr>
          <p:spPr>
            <a:xfrm>
              <a:off x="7640895" y="2907899"/>
              <a:ext cx="303389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Event Product Sales</a:t>
              </a:r>
            </a:p>
          </p:txBody>
        </p:sp>
        <p:sp>
          <p:nvSpPr>
            <p:cNvPr id="40" name="Rectangle 39">
              <a:extLst>
                <a:ext uri="{FF2B5EF4-FFF2-40B4-BE49-F238E27FC236}">
                  <a16:creationId xmlns:a16="http://schemas.microsoft.com/office/drawing/2014/main" id="{0E87CED3-81FF-4FBC-A395-10A919CDCFAE}"/>
                </a:ext>
              </a:extLst>
            </p:cNvPr>
            <p:cNvSpPr/>
            <p:nvPr/>
          </p:nvSpPr>
          <p:spPr>
            <a:xfrm>
              <a:off x="1530529" y="3772634"/>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Sports</a:t>
              </a:r>
            </a:p>
          </p:txBody>
        </p:sp>
        <p:sp>
          <p:nvSpPr>
            <p:cNvPr id="41" name="Rectangle 40">
              <a:extLst>
                <a:ext uri="{FF2B5EF4-FFF2-40B4-BE49-F238E27FC236}">
                  <a16:creationId xmlns:a16="http://schemas.microsoft.com/office/drawing/2014/main" id="{35BEF3EF-3615-450D-AAA2-813AA6A0AD5A}"/>
                </a:ext>
              </a:extLst>
            </p:cNvPr>
            <p:cNvSpPr/>
            <p:nvPr/>
          </p:nvSpPr>
          <p:spPr>
            <a:xfrm>
              <a:off x="7640896" y="2447261"/>
              <a:ext cx="3033894" cy="431937"/>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Sports Event Product Sale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E4275637-E846-4C2E-9E6E-3F6C27452700}"/>
                </a:ext>
              </a:extLst>
            </p:cNvPr>
            <p:cNvSpPr/>
            <p:nvPr/>
          </p:nvSpPr>
          <p:spPr>
            <a:xfrm>
              <a:off x="1523865" y="5074249"/>
              <a:ext cx="9144263" cy="381356"/>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sset CDM</a:t>
              </a:r>
            </a:p>
          </p:txBody>
        </p:sp>
        <p:sp>
          <p:nvSpPr>
            <p:cNvPr id="43" name="Rectangle 42">
              <a:extLst>
                <a:ext uri="{FF2B5EF4-FFF2-40B4-BE49-F238E27FC236}">
                  <a16:creationId xmlns:a16="http://schemas.microsoft.com/office/drawing/2014/main" id="{28EEC369-BD63-4B23-B023-A4B4C3070100}"/>
                </a:ext>
              </a:extLst>
            </p:cNvPr>
            <p:cNvSpPr/>
            <p:nvPr/>
          </p:nvSpPr>
          <p:spPr>
            <a:xfrm>
              <a:off x="6026734" y="1950768"/>
              <a:ext cx="4641393"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App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4E689C83-4234-48DE-B2FE-4BF5126A8970}"/>
                </a:ext>
              </a:extLst>
            </p:cNvPr>
            <p:cNvSpPr/>
            <p:nvPr/>
          </p:nvSpPr>
          <p:spPr>
            <a:xfrm>
              <a:off x="4510153" y="2912821"/>
              <a:ext cx="3057503" cy="379554"/>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cs typeface="Segoe UI" panose="020B0502040204020203" pitchFamily="34" charset="0"/>
              </a:endParaRPr>
            </a:p>
            <a:p>
              <a:pPr algn="ctr"/>
              <a:r>
                <a:rPr lang="en-US" sz="1400">
                  <a:solidFill>
                    <a:schemeClr val="tx1"/>
                  </a:solidFill>
                  <a:latin typeface="Segoe UI" panose="020B0502040204020203" pitchFamily="34" charset="0"/>
                  <a:cs typeface="Segoe UI" panose="020B0502040204020203" pitchFamily="34" charset="0"/>
                </a:rPr>
                <a:t>Media Custom Connectors</a:t>
              </a:r>
            </a:p>
            <a:p>
              <a:pPr algn="ctr"/>
              <a:endParaRPr lang="en-US" sz="1400">
                <a:solidFill>
                  <a:schemeClr val="tx1"/>
                </a:solidFill>
                <a:latin typeface="Segoe UI" panose="020B0502040204020203" pitchFamily="34" charset="0"/>
                <a:cs typeface="Segoe UI" panose="020B0502040204020203" pitchFamily="34" charset="0"/>
              </a:endParaRPr>
            </a:p>
          </p:txBody>
        </p:sp>
        <p:sp>
          <p:nvSpPr>
            <p:cNvPr id="45" name="Rectangle 44">
              <a:extLst>
                <a:ext uri="{FF2B5EF4-FFF2-40B4-BE49-F238E27FC236}">
                  <a16:creationId xmlns:a16="http://schemas.microsoft.com/office/drawing/2014/main" id="{23ABB4C8-BD59-4C74-9830-50345416828F}"/>
                </a:ext>
              </a:extLst>
            </p:cNvPr>
            <p:cNvSpPr/>
            <p:nvPr/>
          </p:nvSpPr>
          <p:spPr>
            <a:xfrm>
              <a:off x="4510153" y="2450123"/>
              <a:ext cx="3057503" cy="41683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edia Apps Teams Integration</a:t>
              </a:r>
            </a:p>
          </p:txBody>
        </p:sp>
        <p:sp>
          <p:nvSpPr>
            <p:cNvPr id="46" name="Rectangle 45">
              <a:extLst>
                <a:ext uri="{FF2B5EF4-FFF2-40B4-BE49-F238E27FC236}">
                  <a16:creationId xmlns:a16="http://schemas.microsoft.com/office/drawing/2014/main" id="{87FD315F-1D08-4A98-B598-F7D7D37FBD1F}"/>
                </a:ext>
              </a:extLst>
            </p:cNvPr>
            <p:cNvSpPr/>
            <p:nvPr/>
          </p:nvSpPr>
          <p:spPr>
            <a:xfrm>
              <a:off x="1530527" y="2460335"/>
              <a:ext cx="2864744" cy="1253324"/>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Power Apps Portals</a:t>
              </a:r>
            </a:p>
          </p:txBody>
        </p:sp>
        <p:sp>
          <p:nvSpPr>
            <p:cNvPr id="47" name="Rectangle 46">
              <a:extLst>
                <a:ext uri="{FF2B5EF4-FFF2-40B4-BE49-F238E27FC236}">
                  <a16:creationId xmlns:a16="http://schemas.microsoft.com/office/drawing/2014/main" id="{925B34B2-1858-427C-9EDA-0D5EB6A3F357}"/>
                </a:ext>
              </a:extLst>
            </p:cNvPr>
            <p:cNvSpPr/>
            <p:nvPr/>
          </p:nvSpPr>
          <p:spPr>
            <a:xfrm>
              <a:off x="1523864" y="1947644"/>
              <a:ext cx="4394758" cy="448499"/>
            </a:xfrm>
            <a:prstGeom prst="rect">
              <a:avLst/>
            </a:prstGeom>
            <a:solidFill>
              <a:srgbClr val="CFDB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Segoe UI" panose="020B0502040204020203" pitchFamily="34" charset="0"/>
                  <a:cs typeface="Segoe UI" panose="020B0502040204020203" pitchFamily="34" charset="0"/>
                </a:rPr>
                <a:t>Media Registration Portal</a:t>
              </a:r>
              <a:endParaRPr lang="en-US" sz="1400">
                <a:solidFill>
                  <a:schemeClr val="tx1"/>
                </a:soli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BDD05A90-CC09-4AE3-B50A-5526E16EB77B}"/>
                </a:ext>
              </a:extLst>
            </p:cNvPr>
            <p:cNvSpPr/>
            <p:nvPr/>
          </p:nvSpPr>
          <p:spPr>
            <a:xfrm>
              <a:off x="4510153" y="3338234"/>
              <a:ext cx="3057503" cy="373328"/>
            </a:xfrm>
            <a:prstGeom prst="rect">
              <a:avLst/>
            </a:prstGeom>
            <a:solidFill>
              <a:srgbClr val="FFEFBD"/>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a:solidFill>
                    <a:schemeClr val="tx1"/>
                  </a:solidFill>
                  <a:latin typeface="Segoe UI" panose="020B0502040204020203" pitchFamily="34" charset="0"/>
                  <a:cs typeface="Segoe UI" panose="020B0502040204020203" pitchFamily="34" charset="0"/>
                </a:rPr>
                <a:t>M365 Teams</a:t>
              </a:r>
            </a:p>
          </p:txBody>
        </p:sp>
      </p:grpSp>
    </p:spTree>
    <p:extLst>
      <p:ext uri="{BB962C8B-B14F-4D97-AF65-F5344CB8AC3E}">
        <p14:creationId xmlns:p14="http://schemas.microsoft.com/office/powerpoint/2010/main" val="801181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p.wYAuovR3KFtTAzmTf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  Read-Only" id="{8B845B6A-4DD7-4BAB-A9D4-FA40485BD370}" vid="{CEBEBDA8-FB1E-4382-89CA-113F7AE31A1E}"/>
    </a:ext>
  </a:extLst>
</a:theme>
</file>

<file path=ppt/theme/theme3.xml><?xml version="1.0" encoding="utf-8"?>
<a:theme xmlns:a="http://schemas.openxmlformats.org/drawingml/2006/main" name="1_Office Theme">
  <a:themeElements>
    <a:clrScheme name="Custom 1">
      <a:dk1>
        <a:sysClr val="windowText" lastClr="000000"/>
      </a:dk1>
      <a:lt1>
        <a:sysClr val="window" lastClr="FFFFFF"/>
      </a:lt1>
      <a:dk2>
        <a:srgbClr val="44546A"/>
      </a:dk2>
      <a:lt2>
        <a:srgbClr val="E7E6E6"/>
      </a:lt2>
      <a:accent1>
        <a:srgbClr val="0078D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rtlCol="0" anchor="t">
        <a:noAutofit/>
      </a:bodyPr>
      <a:lstStyle>
        <a:defPPr marL="285750" marR="0" indent="-285750" algn="l">
          <a:spcBef>
            <a:spcPts val="0"/>
          </a:spcBef>
          <a:spcAft>
            <a:spcPts val="0"/>
          </a:spcAft>
          <a:buSzPts val="1000"/>
          <a:buFont typeface="Arial" panose="020B0604020202020204" pitchFamily="34" charset="0"/>
          <a:buChar char="•"/>
          <a:tabLst>
            <a:tab pos="457200" algn="l"/>
          </a:tabLst>
          <a:defRPr sz="1800" dirty="0" smtClean="0">
            <a:solidFill>
              <a:schemeClr val="bg1"/>
            </a:solidFill>
            <a:ea typeface="Times New Roman" panose="02020603050405020304" pitchFamily="18"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BE24183D22964C891768A5B65FD731" ma:contentTypeVersion="14" ma:contentTypeDescription="Create a new document." ma:contentTypeScope="" ma:versionID="55543ab846cf725eaaac9fdd476502f0">
  <xsd:schema xmlns:xsd="http://www.w3.org/2001/XMLSchema" xmlns:xs="http://www.w3.org/2001/XMLSchema" xmlns:p="http://schemas.microsoft.com/office/2006/metadata/properties" xmlns:ns1="http://schemas.microsoft.com/sharepoint/v3" xmlns:ns2="de6b1ec7-f0c2-4396-932e-8d33e2568ca3" xmlns:ns3="d94a69aa-104d-4847-80a1-aa96fae1e167" targetNamespace="http://schemas.microsoft.com/office/2006/metadata/properties" ma:root="true" ma:fieldsID="115ba2e1d364d62a41269bff454ff084" ns1:_="" ns2:_="" ns3:_="">
    <xsd:import namespace="http://schemas.microsoft.com/sharepoint/v3"/>
    <xsd:import namespace="de6b1ec7-f0c2-4396-932e-8d33e2568ca3"/>
    <xsd:import namespace="d94a69aa-104d-4847-80a1-aa96fae1e16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1:_ip_UnifiedCompliancePolicyProperties" minOccurs="0"/>
                <xsd:element ref="ns1:_ip_UnifiedCompliancePolicyUIAction"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6b1ec7-f0c2-4396-932e-8d33e2568c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4a69aa-104d-4847-80a1-aa96fae1e16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94a69aa-104d-4847-80a1-aa96fae1e167">
      <UserInfo>
        <DisplayName>David Reinhold</DisplayName>
        <AccountId>26</AccountId>
        <AccountType/>
      </UserInfo>
      <UserInfo>
        <DisplayName>Martin Wahl</DisplayName>
        <AccountId>10</AccountId>
        <AccountType/>
      </UserInfo>
      <UserInfo>
        <DisplayName>Rajya Bhaiya</DisplayName>
        <AccountId>11</AccountId>
        <AccountType/>
      </UserInfo>
      <UserInfo>
        <DisplayName>Oleg Ovanesyan</DisplayName>
        <AccountId>34</AccountId>
        <AccountType/>
      </UserInfo>
      <UserInfo>
        <DisplayName>Jeff Bernhardt</DisplayName>
        <AccountId>35</AccountId>
        <AccountType/>
      </UserInfo>
      <UserInfo>
        <DisplayName>Sara Nagy</DisplayName>
        <AccountId>20</AccountId>
        <AccountType/>
      </UserInfo>
      <UserInfo>
        <DisplayName>Bryan Schafer</DisplayName>
        <AccountId>13</AccountId>
        <AccountType/>
      </UserInfo>
      <UserInfo>
        <DisplayName>Shiva Rampally</DisplayName>
        <AccountId>36</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579A50C2-ECA3-4932-A31A-3216B4ACCD15}">
  <ds:schemaRefs>
    <ds:schemaRef ds:uri="d94a69aa-104d-4847-80a1-aa96fae1e167"/>
    <ds:schemaRef ds:uri="de6b1ec7-f0c2-4396-932e-8d33e2568ca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82FE9DE-EC4D-4D98-9A33-0EBBC3CF7B34}">
  <ds:schemaRefs>
    <ds:schemaRef ds:uri="http://schemas.microsoft.com/sharepoint/v3/contenttype/forms"/>
  </ds:schemaRefs>
</ds:datastoreItem>
</file>

<file path=customXml/itemProps3.xml><?xml version="1.0" encoding="utf-8"?>
<ds:datastoreItem xmlns:ds="http://schemas.openxmlformats.org/officeDocument/2006/customXml" ds:itemID="{4E75DC10-FE95-440E-8B09-D2E9D4749B60}">
  <ds:schemaRefs>
    <ds:schemaRef ds:uri="d94a69aa-104d-4847-80a1-aa96fae1e167"/>
    <ds:schemaRef ds:uri="de6b1ec7-f0c2-4396-932e-8d33e2568ca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9</Slides>
  <Notes>2</Notes>
  <HiddenSlides>0</HiddenSlides>
  <ScaleCrop>false</ScaleCrop>
  <HeadingPairs>
    <vt:vector size="4" baseType="variant">
      <vt:variant>
        <vt:lpstr>Theme</vt:lpstr>
      </vt:variant>
      <vt:variant>
        <vt:i4>4</vt:i4>
      </vt:variant>
      <vt:variant>
        <vt:lpstr>Slide Titles</vt:lpstr>
      </vt:variant>
      <vt:variant>
        <vt:i4>29</vt:i4>
      </vt:variant>
    </vt:vector>
  </HeadingPairs>
  <TitlesOfParts>
    <vt:vector size="33" baseType="lpstr">
      <vt:lpstr>Office Theme</vt:lpstr>
      <vt:lpstr>White Template</vt:lpstr>
      <vt:lpstr>1_Office Theme</vt:lpstr>
      <vt:lpstr>1_White Template</vt:lpstr>
      <vt:lpstr>Media &amp; Entertainment Accelerator (v1/v2) </vt:lpstr>
      <vt:lpstr>Media &amp; Entertainment Sub-Industries</vt:lpstr>
      <vt:lpstr>PowerPoint Presentation</vt:lpstr>
      <vt:lpstr>PowerPoint Presentation</vt:lpstr>
      <vt:lpstr>Fan Engagement S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tent Production Solution (Upcoming)</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son Foerch</dc:creator>
  <cp:revision>1</cp:revision>
  <cp:lastPrinted>2020-07-20T17:24:51Z</cp:lastPrinted>
  <dcterms:created xsi:type="dcterms:W3CDTF">2020-03-12T18:31:26Z</dcterms:created>
  <dcterms:modified xsi:type="dcterms:W3CDTF">2021-08-20T21: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BE24183D22964C891768A5B65FD731</vt:lpwstr>
  </property>
</Properties>
</file>